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4"/>
  </p:sldMasterIdLst>
  <p:notesMasterIdLst>
    <p:notesMasterId r:id="rId10"/>
  </p:notesMasterIdLst>
  <p:handoutMasterIdLst>
    <p:handoutMasterId r:id="rId11"/>
  </p:handoutMasterIdLst>
  <p:sldIdLst>
    <p:sldId id="256" r:id="rId5"/>
    <p:sldId id="339" r:id="rId6"/>
    <p:sldId id="2265" r:id="rId7"/>
    <p:sldId id="2264" r:id="rId8"/>
    <p:sldId id="344" r:id="rId9"/>
  </p:sldIdLst>
  <p:sldSz cx="10464800" cy="7848600"/>
  <p:notesSz cx="6797675" cy="9928225"/>
  <p:defaultTextStyle>
    <a:defPPr>
      <a:defRPr lang="de-CH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72" userDrawn="1">
          <p15:clr>
            <a:srgbClr val="A4A3A4"/>
          </p15:clr>
        </p15:guide>
        <p15:guide id="2" pos="3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ine Aebi" initials="AA" lastIdx="6" clrIdx="0"/>
  <p:cmAuthor id="1" name="Pache Suzana" initials="PS" lastIdx="2" clrIdx="1">
    <p:extLst>
      <p:ext uri="{19B8F6BF-5375-455C-9EA6-DF929625EA0E}">
        <p15:presenceInfo xmlns:p15="http://schemas.microsoft.com/office/powerpoint/2012/main" userId="Pache Suzana" providerId="None"/>
      </p:ext>
    </p:extLst>
  </p:cmAuthor>
  <p:cmAuthor id="2" name="Stettler Simon" initials="SS" lastIdx="4" clrIdx="2">
    <p:extLst>
      <p:ext uri="{19B8F6BF-5375-455C-9EA6-DF929625EA0E}">
        <p15:presenceInfo xmlns:p15="http://schemas.microsoft.com/office/powerpoint/2012/main" userId="S-1-5-21-2451135482-3026919654-1704875239-49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4CBD"/>
    <a:srgbClr val="E34975"/>
    <a:srgbClr val="FDE4B9"/>
    <a:srgbClr val="0641A2"/>
    <a:srgbClr val="C8F6B9"/>
    <a:srgbClr val="A6ED8D"/>
    <a:srgbClr val="D72156"/>
    <a:srgbClr val="439ED1"/>
    <a:srgbClr val="F5BAFA"/>
    <a:srgbClr val="F68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A6A8E9-31DE-014F-B59A-A6CC13920119}" v="1" dt="2021-11-03T14:12:32.0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075" autoAdjust="0"/>
    <p:restoredTop sz="94968" autoAdjust="0"/>
  </p:normalViewPr>
  <p:slideViewPr>
    <p:cSldViewPr>
      <p:cViewPr varScale="1">
        <p:scale>
          <a:sx n="70" d="100"/>
          <a:sy n="70" d="100"/>
        </p:scale>
        <p:origin x="2050" y="38"/>
      </p:cViewPr>
      <p:guideLst>
        <p:guide orient="horz" pos="2472"/>
        <p:guide pos="3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 Rufer" userId="16610d5c-46a2-47f7-9854-b842a0b2f41e" providerId="ADAL" clId="{C5C4897E-10DA-0E4C-8923-28F9FDFFFE43}"/>
    <pc:docChg chg="undo custSel addSld delSld modSld">
      <pc:chgData name="Philipp Rufer" userId="16610d5c-46a2-47f7-9854-b842a0b2f41e" providerId="ADAL" clId="{C5C4897E-10DA-0E4C-8923-28F9FDFFFE43}" dt="2021-07-27T12:00:26.680" v="19" actId="2696"/>
      <pc:docMkLst>
        <pc:docMk/>
      </pc:docMkLst>
      <pc:sldChg chg="modSp del mod">
        <pc:chgData name="Philipp Rufer" userId="16610d5c-46a2-47f7-9854-b842a0b2f41e" providerId="ADAL" clId="{C5C4897E-10DA-0E4C-8923-28F9FDFFFE43}" dt="2021-07-27T12:00:26.680" v="19" actId="2696"/>
        <pc:sldMkLst>
          <pc:docMk/>
          <pc:sldMk cId="3832037370" sldId="334"/>
        </pc:sldMkLst>
        <pc:spChg chg="mod">
          <ac:chgData name="Philipp Rufer" userId="16610d5c-46a2-47f7-9854-b842a0b2f41e" providerId="ADAL" clId="{C5C4897E-10DA-0E4C-8923-28F9FDFFFE43}" dt="2021-07-26T14:37:09.223" v="3" actId="6549"/>
          <ac:spMkLst>
            <pc:docMk/>
            <pc:sldMk cId="3832037370" sldId="334"/>
            <ac:spMk id="20" creationId="{37E71967-6ECB-064B-9656-1DC623E97F6F}"/>
          </ac:spMkLst>
        </pc:spChg>
        <pc:spChg chg="mod">
          <ac:chgData name="Philipp Rufer" userId="16610d5c-46a2-47f7-9854-b842a0b2f41e" providerId="ADAL" clId="{C5C4897E-10DA-0E4C-8923-28F9FDFFFE43}" dt="2021-07-26T14:36:25.535" v="0"/>
          <ac:spMkLst>
            <pc:docMk/>
            <pc:sldMk cId="3832037370" sldId="334"/>
            <ac:spMk id="21" creationId="{70433F08-F0BE-2844-902C-4AF6102D867A}"/>
          </ac:spMkLst>
        </pc:spChg>
        <pc:spChg chg="mod">
          <ac:chgData name="Philipp Rufer" userId="16610d5c-46a2-47f7-9854-b842a0b2f41e" providerId="ADAL" clId="{C5C4897E-10DA-0E4C-8923-28F9FDFFFE43}" dt="2021-07-26T14:36:34.163" v="1"/>
          <ac:spMkLst>
            <pc:docMk/>
            <pc:sldMk cId="3832037370" sldId="334"/>
            <ac:spMk id="22" creationId="{6EA42715-70C6-4E44-9B09-6CDAE0AE9471}"/>
          </ac:spMkLst>
        </pc:spChg>
      </pc:sldChg>
      <pc:sldChg chg="modSp mod">
        <pc:chgData name="Philipp Rufer" userId="16610d5c-46a2-47f7-9854-b842a0b2f41e" providerId="ADAL" clId="{C5C4897E-10DA-0E4C-8923-28F9FDFFFE43}" dt="2021-07-26T14:39:28.378" v="16" actId="6549"/>
        <pc:sldMkLst>
          <pc:docMk/>
          <pc:sldMk cId="3003390192" sldId="344"/>
        </pc:sldMkLst>
        <pc:spChg chg="mod">
          <ac:chgData name="Philipp Rufer" userId="16610d5c-46a2-47f7-9854-b842a0b2f41e" providerId="ADAL" clId="{C5C4897E-10DA-0E4C-8923-28F9FDFFFE43}" dt="2021-07-26T14:39:28.378" v="16" actId="6549"/>
          <ac:spMkLst>
            <pc:docMk/>
            <pc:sldMk cId="3003390192" sldId="344"/>
            <ac:spMk id="5123" creationId="{00000000-0000-0000-0000-000000000000}"/>
          </ac:spMkLst>
        </pc:spChg>
      </pc:sldChg>
      <pc:sldChg chg="addSp modSp add">
        <pc:chgData name="Philipp Rufer" userId="16610d5c-46a2-47f7-9854-b842a0b2f41e" providerId="ADAL" clId="{C5C4897E-10DA-0E4C-8923-28F9FDFFFE43}" dt="2021-07-27T12:00:22.402" v="18"/>
        <pc:sldMkLst>
          <pc:docMk/>
          <pc:sldMk cId="4166945937" sldId="345"/>
        </pc:sldMkLst>
        <pc:spChg chg="add mod">
          <ac:chgData name="Philipp Rufer" userId="16610d5c-46a2-47f7-9854-b842a0b2f41e" providerId="ADAL" clId="{C5C4897E-10DA-0E4C-8923-28F9FDFFFE43}" dt="2021-07-27T12:00:22.402" v="18"/>
          <ac:spMkLst>
            <pc:docMk/>
            <pc:sldMk cId="4166945937" sldId="345"/>
            <ac:spMk id="23" creationId="{37FA3518-3871-9A46-9E41-41F06B1E59F8}"/>
          </ac:spMkLst>
        </pc:spChg>
      </pc:sldChg>
    </pc:docChg>
  </pc:docChgLst>
  <pc:docChgLst>
    <pc:chgData name="Philipp Rufer" userId="16610d5c-46a2-47f7-9854-b842a0b2f41e" providerId="ADAL" clId="{871F596E-E18E-074E-82DE-18C0FA7DD53C}"/>
    <pc:docChg chg="undo redo custSel addSld delSld modSld">
      <pc:chgData name="Philipp Rufer" userId="16610d5c-46a2-47f7-9854-b842a0b2f41e" providerId="ADAL" clId="{871F596E-E18E-074E-82DE-18C0FA7DD53C}" dt="2021-09-06T12:36:48.397" v="661" actId="20577"/>
      <pc:docMkLst>
        <pc:docMk/>
      </pc:docMkLst>
      <pc:sldChg chg="add">
        <pc:chgData name="Philipp Rufer" userId="16610d5c-46a2-47f7-9854-b842a0b2f41e" providerId="ADAL" clId="{871F596E-E18E-074E-82DE-18C0FA7DD53C}" dt="2021-09-06T12:01:06.411" v="0"/>
        <pc:sldMkLst>
          <pc:docMk/>
          <pc:sldMk cId="3832037370" sldId="334"/>
        </pc:sldMkLst>
      </pc:sldChg>
      <pc:sldChg chg="delSp modSp mod">
        <pc:chgData name="Philipp Rufer" userId="16610d5c-46a2-47f7-9854-b842a0b2f41e" providerId="ADAL" clId="{871F596E-E18E-074E-82DE-18C0FA7DD53C}" dt="2021-09-06T12:36:48.397" v="661" actId="20577"/>
        <pc:sldMkLst>
          <pc:docMk/>
          <pc:sldMk cId="3003390192" sldId="344"/>
        </pc:sldMkLst>
        <pc:spChg chg="mod">
          <ac:chgData name="Philipp Rufer" userId="16610d5c-46a2-47f7-9854-b842a0b2f41e" providerId="ADAL" clId="{871F596E-E18E-074E-82DE-18C0FA7DD53C}" dt="2021-09-06T12:03:16.529" v="39" actId="20577"/>
          <ac:spMkLst>
            <pc:docMk/>
            <pc:sldMk cId="3003390192" sldId="344"/>
            <ac:spMk id="8" creationId="{0554BCA3-1956-D140-9067-88D05D97C1DB}"/>
          </ac:spMkLst>
        </pc:spChg>
        <pc:spChg chg="mod">
          <ac:chgData name="Philipp Rufer" userId="16610d5c-46a2-47f7-9854-b842a0b2f41e" providerId="ADAL" clId="{871F596E-E18E-074E-82DE-18C0FA7DD53C}" dt="2021-09-06T12:35:33.574" v="575" actId="108"/>
          <ac:spMkLst>
            <pc:docMk/>
            <pc:sldMk cId="3003390192" sldId="344"/>
            <ac:spMk id="13" creationId="{8582960F-C673-8A4B-B639-EBA2835F3075}"/>
          </ac:spMkLst>
        </pc:spChg>
        <pc:spChg chg="mod">
          <ac:chgData name="Philipp Rufer" userId="16610d5c-46a2-47f7-9854-b842a0b2f41e" providerId="ADAL" clId="{871F596E-E18E-074E-82DE-18C0FA7DD53C}" dt="2021-09-06T12:35:50.073" v="596" actId="108"/>
          <ac:spMkLst>
            <pc:docMk/>
            <pc:sldMk cId="3003390192" sldId="344"/>
            <ac:spMk id="14" creationId="{6D1AC67F-908D-F846-B43A-C6DB0683684E}"/>
          </ac:spMkLst>
        </pc:spChg>
        <pc:spChg chg="mod">
          <ac:chgData name="Philipp Rufer" userId="16610d5c-46a2-47f7-9854-b842a0b2f41e" providerId="ADAL" clId="{871F596E-E18E-074E-82DE-18C0FA7DD53C}" dt="2021-09-06T12:01:44.303" v="3" actId="1076"/>
          <ac:spMkLst>
            <pc:docMk/>
            <pc:sldMk cId="3003390192" sldId="344"/>
            <ac:spMk id="16" creationId="{7B254585-BA68-4846-930A-490D45FEDD65}"/>
          </ac:spMkLst>
        </pc:spChg>
        <pc:spChg chg="del">
          <ac:chgData name="Philipp Rufer" userId="16610d5c-46a2-47f7-9854-b842a0b2f41e" providerId="ADAL" clId="{871F596E-E18E-074E-82DE-18C0FA7DD53C}" dt="2021-09-06T12:01:35.588" v="2" actId="478"/>
          <ac:spMkLst>
            <pc:docMk/>
            <pc:sldMk cId="3003390192" sldId="344"/>
            <ac:spMk id="17" creationId="{D7D5B722-1B79-7B4E-87DA-4A4E1EDD71C7}"/>
          </ac:spMkLst>
        </pc:spChg>
        <pc:spChg chg="mod">
          <ac:chgData name="Philipp Rufer" userId="16610d5c-46a2-47f7-9854-b842a0b2f41e" providerId="ADAL" clId="{871F596E-E18E-074E-82DE-18C0FA7DD53C}" dt="2021-09-06T12:28:31.551" v="465" actId="1076"/>
          <ac:spMkLst>
            <pc:docMk/>
            <pc:sldMk cId="3003390192" sldId="344"/>
            <ac:spMk id="24" creationId="{64D33498-36CB-1843-8E38-73808E5C12AF}"/>
          </ac:spMkLst>
        </pc:spChg>
        <pc:spChg chg="mod">
          <ac:chgData name="Philipp Rufer" userId="16610d5c-46a2-47f7-9854-b842a0b2f41e" providerId="ADAL" clId="{871F596E-E18E-074E-82DE-18C0FA7DD53C}" dt="2021-09-06T12:30:08.050" v="476" actId="20577"/>
          <ac:spMkLst>
            <pc:docMk/>
            <pc:sldMk cId="3003390192" sldId="344"/>
            <ac:spMk id="25" creationId="{7D2BD1F6-C665-354B-BC8A-DD21BE65611B}"/>
          </ac:spMkLst>
        </pc:spChg>
        <pc:spChg chg="mod">
          <ac:chgData name="Philipp Rufer" userId="16610d5c-46a2-47f7-9854-b842a0b2f41e" providerId="ADAL" clId="{871F596E-E18E-074E-82DE-18C0FA7DD53C}" dt="2021-09-06T12:36:48.397" v="661" actId="20577"/>
          <ac:spMkLst>
            <pc:docMk/>
            <pc:sldMk cId="3003390192" sldId="344"/>
            <ac:spMk id="26" creationId="{B95C69F3-579E-9B44-B1D6-B72CBB3CCF0C}"/>
          </ac:spMkLst>
        </pc:spChg>
        <pc:spChg chg="del mod">
          <ac:chgData name="Philipp Rufer" userId="16610d5c-46a2-47f7-9854-b842a0b2f41e" providerId="ADAL" clId="{871F596E-E18E-074E-82DE-18C0FA7DD53C}" dt="2021-09-06T12:11:05.904" v="343" actId="478"/>
          <ac:spMkLst>
            <pc:docMk/>
            <pc:sldMk cId="3003390192" sldId="344"/>
            <ac:spMk id="27" creationId="{9AE24AB9-E899-A846-85B8-A0E10574B4E3}"/>
          </ac:spMkLst>
        </pc:spChg>
        <pc:spChg chg="mod">
          <ac:chgData name="Philipp Rufer" userId="16610d5c-46a2-47f7-9854-b842a0b2f41e" providerId="ADAL" clId="{871F596E-E18E-074E-82DE-18C0FA7DD53C}" dt="2021-09-06T12:30:08.812" v="477" actId="20577"/>
          <ac:spMkLst>
            <pc:docMk/>
            <pc:sldMk cId="3003390192" sldId="344"/>
            <ac:spMk id="28" creationId="{335CD0DA-54C9-4148-8EB5-2857FC00989F}"/>
          </ac:spMkLst>
        </pc:spChg>
        <pc:spChg chg="mod">
          <ac:chgData name="Philipp Rufer" userId="16610d5c-46a2-47f7-9854-b842a0b2f41e" providerId="ADAL" clId="{871F596E-E18E-074E-82DE-18C0FA7DD53C}" dt="2021-09-06T12:35:31.550" v="574" actId="108"/>
          <ac:spMkLst>
            <pc:docMk/>
            <pc:sldMk cId="3003390192" sldId="344"/>
            <ac:spMk id="29" creationId="{62A4F9C2-5077-A649-8DCF-6B978E936388}"/>
          </ac:spMkLst>
        </pc:spChg>
        <pc:spChg chg="del">
          <ac:chgData name="Philipp Rufer" userId="16610d5c-46a2-47f7-9854-b842a0b2f41e" providerId="ADAL" clId="{871F596E-E18E-074E-82DE-18C0FA7DD53C}" dt="2021-09-06T12:01:50.462" v="5" actId="478"/>
          <ac:spMkLst>
            <pc:docMk/>
            <pc:sldMk cId="3003390192" sldId="344"/>
            <ac:spMk id="30" creationId="{BB4FE3CD-9554-744C-99F1-A643DED25C2F}"/>
          </ac:spMkLst>
        </pc:spChg>
        <pc:grpChg chg="mod">
          <ac:chgData name="Philipp Rufer" userId="16610d5c-46a2-47f7-9854-b842a0b2f41e" providerId="ADAL" clId="{871F596E-E18E-074E-82DE-18C0FA7DD53C}" dt="2021-09-06T12:11:13.521" v="345" actId="14100"/>
          <ac:grpSpMkLst>
            <pc:docMk/>
            <pc:sldMk cId="3003390192" sldId="344"/>
            <ac:grpSpMk id="23" creationId="{C62F2317-74F7-6743-AF76-F7169666022F}"/>
          </ac:grpSpMkLst>
        </pc:grpChg>
      </pc:sldChg>
      <pc:sldChg chg="del">
        <pc:chgData name="Philipp Rufer" userId="16610d5c-46a2-47f7-9854-b842a0b2f41e" providerId="ADAL" clId="{871F596E-E18E-074E-82DE-18C0FA7DD53C}" dt="2021-09-06T12:01:11.749" v="1" actId="2696"/>
        <pc:sldMkLst>
          <pc:docMk/>
          <pc:sldMk cId="4166945937" sldId="345"/>
        </pc:sldMkLst>
      </pc:sldChg>
    </pc:docChg>
  </pc:docChgLst>
  <pc:docChgLst>
    <pc:chgData name="Philipp Rufer" userId="16610d5c-46a2-47f7-9854-b842a0b2f41e" providerId="ADAL" clId="{3BA6A8E9-31DE-014F-B59A-A6CC13920119}"/>
    <pc:docChg chg="custSel addSld delSld modSld">
      <pc:chgData name="Philipp Rufer" userId="16610d5c-46a2-47f7-9854-b842a0b2f41e" providerId="ADAL" clId="{3BA6A8E9-31DE-014F-B59A-A6CC13920119}" dt="2021-11-03T14:13:04.815" v="3" actId="207"/>
      <pc:docMkLst>
        <pc:docMk/>
      </pc:docMkLst>
      <pc:sldChg chg="del">
        <pc:chgData name="Philipp Rufer" userId="16610d5c-46a2-47f7-9854-b842a0b2f41e" providerId="ADAL" clId="{3BA6A8E9-31DE-014F-B59A-A6CC13920119}" dt="2021-11-03T14:12:35.405" v="1" actId="2696"/>
        <pc:sldMkLst>
          <pc:docMk/>
          <pc:sldMk cId="3832037370" sldId="334"/>
        </pc:sldMkLst>
      </pc:sldChg>
      <pc:sldChg chg="modSp mod">
        <pc:chgData name="Philipp Rufer" userId="16610d5c-46a2-47f7-9854-b842a0b2f41e" providerId="ADAL" clId="{3BA6A8E9-31DE-014F-B59A-A6CC13920119}" dt="2021-11-03T14:13:04.815" v="3" actId="207"/>
        <pc:sldMkLst>
          <pc:docMk/>
          <pc:sldMk cId="829128610" sldId="2264"/>
        </pc:sldMkLst>
        <pc:graphicFrameChg chg="modGraphic">
          <ac:chgData name="Philipp Rufer" userId="16610d5c-46a2-47f7-9854-b842a0b2f41e" providerId="ADAL" clId="{3BA6A8E9-31DE-014F-B59A-A6CC13920119}" dt="2021-11-03T14:13:04.815" v="3" actId="207"/>
          <ac:graphicFrameMkLst>
            <pc:docMk/>
            <pc:sldMk cId="829128610" sldId="2264"/>
            <ac:graphicFrameMk id="24" creationId="{5DFBA2F3-6D7F-8D47-BA25-D79823FF3ADD}"/>
          </ac:graphicFrameMkLst>
        </pc:graphicFrameChg>
      </pc:sldChg>
      <pc:sldChg chg="add">
        <pc:chgData name="Philipp Rufer" userId="16610d5c-46a2-47f7-9854-b842a0b2f41e" providerId="ADAL" clId="{3BA6A8E9-31DE-014F-B59A-A6CC13920119}" dt="2021-11-03T14:12:32.004" v="0"/>
        <pc:sldMkLst>
          <pc:docMk/>
          <pc:sldMk cId="3023722661" sldId="2265"/>
        </pc:sldMkLst>
      </pc:sldChg>
    </pc:docChg>
  </pc:docChgLst>
  <pc:docChgLst>
    <pc:chgData name="Philipp Rufer" userId="16610d5c-46a2-47f7-9854-b842a0b2f41e" providerId="ADAL" clId="{0B1BA025-456C-D440-A9DD-21C0B1A8C844}"/>
    <pc:docChg chg="undo custSel addSld modSld">
      <pc:chgData name="Philipp Rufer" userId="16610d5c-46a2-47f7-9854-b842a0b2f41e" providerId="ADAL" clId="{0B1BA025-456C-D440-A9DD-21C0B1A8C844}" dt="2021-10-12T15:06:32.379" v="733" actId="948"/>
      <pc:docMkLst>
        <pc:docMk/>
      </pc:docMkLst>
      <pc:sldChg chg="modSp mod">
        <pc:chgData name="Philipp Rufer" userId="16610d5c-46a2-47f7-9854-b842a0b2f41e" providerId="ADAL" clId="{0B1BA025-456C-D440-A9DD-21C0B1A8C844}" dt="2021-10-12T14:30:21.511" v="2" actId="14100"/>
        <pc:sldMkLst>
          <pc:docMk/>
          <pc:sldMk cId="3003390192" sldId="344"/>
        </pc:sldMkLst>
        <pc:spChg chg="mod">
          <ac:chgData name="Philipp Rufer" userId="16610d5c-46a2-47f7-9854-b842a0b2f41e" providerId="ADAL" clId="{0B1BA025-456C-D440-A9DD-21C0B1A8C844}" dt="2021-10-12T14:30:21.511" v="2" actId="14100"/>
          <ac:spMkLst>
            <pc:docMk/>
            <pc:sldMk cId="3003390192" sldId="344"/>
            <ac:spMk id="8" creationId="{0554BCA3-1956-D140-9067-88D05D97C1DB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3" creationId="{8582960F-C673-8A4B-B639-EBA2835F3075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4" creationId="{6D1AC67F-908D-F846-B43A-C6DB0683684E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16" creationId="{7B254585-BA68-4846-930A-490D45FEDD65}"/>
          </ac:spMkLst>
        </pc:spChg>
        <pc:spChg chg="mod">
          <ac:chgData name="Philipp Rufer" userId="16610d5c-46a2-47f7-9854-b842a0b2f41e" providerId="ADAL" clId="{0B1BA025-456C-D440-A9DD-21C0B1A8C844}" dt="2021-10-12T14:30:12.139" v="0" actId="1076"/>
          <ac:spMkLst>
            <pc:docMk/>
            <pc:sldMk cId="3003390192" sldId="344"/>
            <ac:spMk id="29" creationId="{62A4F9C2-5077-A649-8DCF-6B978E936388}"/>
          </ac:spMkLst>
        </pc:spChg>
      </pc:sldChg>
      <pc:sldChg chg="addSp delSp modSp add mod">
        <pc:chgData name="Philipp Rufer" userId="16610d5c-46a2-47f7-9854-b842a0b2f41e" providerId="ADAL" clId="{0B1BA025-456C-D440-A9DD-21C0B1A8C844}" dt="2021-10-12T15:06:32.379" v="733" actId="948"/>
        <pc:sldMkLst>
          <pc:docMk/>
          <pc:sldMk cId="829128610" sldId="2264"/>
        </pc:sldMkLst>
        <pc:spChg chg="del mod">
          <ac:chgData name="Philipp Rufer" userId="16610d5c-46a2-47f7-9854-b842a0b2f41e" providerId="ADAL" clId="{0B1BA025-456C-D440-A9DD-21C0B1A8C844}" dt="2021-10-12T14:41:18.190" v="6" actId="478"/>
          <ac:spMkLst>
            <pc:docMk/>
            <pc:sldMk cId="829128610" sldId="2264"/>
            <ac:spMk id="2" creationId="{692CC639-82E1-AB43-9B83-2882F9C4166B}"/>
          </ac:spMkLst>
        </pc:spChg>
        <pc:spChg chg="del mod">
          <ac:chgData name="Philipp Rufer" userId="16610d5c-46a2-47f7-9854-b842a0b2f41e" providerId="ADAL" clId="{0B1BA025-456C-D440-A9DD-21C0B1A8C844}" dt="2021-10-12T15:05:32.238" v="690" actId="478"/>
          <ac:spMkLst>
            <pc:docMk/>
            <pc:sldMk cId="829128610" sldId="2264"/>
            <ac:spMk id="3" creationId="{3229118F-100A-2545-8EBE-42D3FC516BE7}"/>
          </ac:spMkLst>
        </pc:spChg>
        <pc:spChg chg="add mod">
          <ac:chgData name="Philipp Rufer" userId="16610d5c-46a2-47f7-9854-b842a0b2f41e" providerId="ADAL" clId="{0B1BA025-456C-D440-A9DD-21C0B1A8C844}" dt="2021-10-12T14:41:25.689" v="13" actId="20577"/>
          <ac:spMkLst>
            <pc:docMk/>
            <pc:sldMk cId="829128610" sldId="2264"/>
            <ac:spMk id="5" creationId="{91122BBD-6B6C-0A4A-9AC4-322A3300234A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6" creationId="{2F497443-4709-3445-BA45-815A4897020C}"/>
          </ac:spMkLst>
        </pc:spChg>
        <pc:spChg chg="mod">
          <ac:chgData name="Philipp Rufer" userId="16610d5c-46a2-47f7-9854-b842a0b2f41e" providerId="ADAL" clId="{0B1BA025-456C-D440-A9DD-21C0B1A8C844}" dt="2021-10-12T14:54:47.326" v="376" actId="20577"/>
          <ac:spMkLst>
            <pc:docMk/>
            <pc:sldMk cId="829128610" sldId="2264"/>
            <ac:spMk id="7" creationId="{5E9B8B72-E3AA-A44F-B330-A585407BE2BE}"/>
          </ac:spMkLst>
        </pc:spChg>
        <pc:spChg chg="mod">
          <ac:chgData name="Philipp Rufer" userId="16610d5c-46a2-47f7-9854-b842a0b2f41e" providerId="ADAL" clId="{0B1BA025-456C-D440-A9DD-21C0B1A8C844}" dt="2021-10-12T14:53:54.383" v="332" actId="207"/>
          <ac:spMkLst>
            <pc:docMk/>
            <pc:sldMk cId="829128610" sldId="2264"/>
            <ac:spMk id="8" creationId="{FF7C3F83-10EA-3949-90B9-CDF50140F400}"/>
          </ac:spMkLst>
        </pc:spChg>
        <pc:spChg chg="mod">
          <ac:chgData name="Philipp Rufer" userId="16610d5c-46a2-47f7-9854-b842a0b2f41e" providerId="ADAL" clId="{0B1BA025-456C-D440-A9DD-21C0B1A8C844}" dt="2021-10-12T14:43:28.728" v="80" actId="3064"/>
          <ac:spMkLst>
            <pc:docMk/>
            <pc:sldMk cId="829128610" sldId="2264"/>
            <ac:spMk id="9" creationId="{BE65F235-9C04-C14E-AE5F-C36EE79781B7}"/>
          </ac:spMkLst>
        </pc:spChg>
        <pc:spChg chg="mod">
          <ac:chgData name="Philipp Rufer" userId="16610d5c-46a2-47f7-9854-b842a0b2f41e" providerId="ADAL" clId="{0B1BA025-456C-D440-A9DD-21C0B1A8C844}" dt="2021-10-12T14:54:18.290" v="367" actId="207"/>
          <ac:spMkLst>
            <pc:docMk/>
            <pc:sldMk cId="829128610" sldId="2264"/>
            <ac:spMk id="10" creationId="{065CC3A4-B77C-6B42-92BE-9D3E8D86A2E7}"/>
          </ac:spMkLst>
        </pc:spChg>
        <pc:spChg chg="mod">
          <ac:chgData name="Philipp Rufer" userId="16610d5c-46a2-47f7-9854-b842a0b2f41e" providerId="ADAL" clId="{0B1BA025-456C-D440-A9DD-21C0B1A8C844}" dt="2021-10-12T14:54:31.752" v="371" actId="207"/>
          <ac:spMkLst>
            <pc:docMk/>
            <pc:sldMk cId="829128610" sldId="2264"/>
            <ac:spMk id="11" creationId="{6064D16E-7950-5F4B-988E-36B84CA96F05}"/>
          </ac:spMkLst>
        </pc:spChg>
        <pc:spChg chg="mod">
          <ac:chgData name="Philipp Rufer" userId="16610d5c-46a2-47f7-9854-b842a0b2f41e" providerId="ADAL" clId="{0B1BA025-456C-D440-A9DD-21C0B1A8C844}" dt="2021-10-12T15:06:32.379" v="733" actId="948"/>
          <ac:spMkLst>
            <pc:docMk/>
            <pc:sldMk cId="829128610" sldId="2264"/>
            <ac:spMk id="12" creationId="{66CA09A3-BF5A-C447-9458-C184D6A85C6B}"/>
          </ac:spMkLst>
        </pc:spChg>
        <pc:spChg chg="del mod">
          <ac:chgData name="Philipp Rufer" userId="16610d5c-46a2-47f7-9854-b842a0b2f41e" providerId="ADAL" clId="{0B1BA025-456C-D440-A9DD-21C0B1A8C844}" dt="2021-10-12T15:06:23.740" v="732" actId="478"/>
          <ac:spMkLst>
            <pc:docMk/>
            <pc:sldMk cId="829128610" sldId="2264"/>
            <ac:spMk id="15" creationId="{53F7EF66-6384-244B-BCAA-7FBB87AC0065}"/>
          </ac:spMkLst>
        </pc:spChg>
        <pc:spChg chg="mod">
          <ac:chgData name="Philipp Rufer" userId="16610d5c-46a2-47f7-9854-b842a0b2f41e" providerId="ADAL" clId="{0B1BA025-456C-D440-A9DD-21C0B1A8C844}" dt="2021-10-12T14:49:39.016" v="265" actId="14100"/>
          <ac:spMkLst>
            <pc:docMk/>
            <pc:sldMk cId="829128610" sldId="2264"/>
            <ac:spMk id="22" creationId="{778E9679-F736-6143-A471-D6D9C077ADE4}"/>
          </ac:spMkLst>
        </pc:spChg>
        <pc:spChg chg="mod">
          <ac:chgData name="Philipp Rufer" userId="16610d5c-46a2-47f7-9854-b842a0b2f41e" providerId="ADAL" clId="{0B1BA025-456C-D440-A9DD-21C0B1A8C844}" dt="2021-10-12T15:01:55.048" v="555" actId="6549"/>
          <ac:spMkLst>
            <pc:docMk/>
            <pc:sldMk cId="829128610" sldId="2264"/>
            <ac:spMk id="29" creationId="{377D0ABD-49B2-214E-8986-47A7B32D51DD}"/>
          </ac:spMkLst>
        </pc:spChg>
        <pc:spChg chg="del mod">
          <ac:chgData name="Philipp Rufer" userId="16610d5c-46a2-47f7-9854-b842a0b2f41e" providerId="ADAL" clId="{0B1BA025-456C-D440-A9DD-21C0B1A8C844}" dt="2021-10-12T15:00:49.697" v="470" actId="478"/>
          <ac:spMkLst>
            <pc:docMk/>
            <pc:sldMk cId="829128610" sldId="2264"/>
            <ac:spMk id="30" creationId="{E58A4B48-B3A3-094E-BD2D-C7CE1D91A216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31" creationId="{CCFCD304-A158-2945-B2F5-B2E4DBCD1B7E}"/>
          </ac:spMkLst>
        </pc:spChg>
        <pc:spChg chg="mod">
          <ac:chgData name="Philipp Rufer" userId="16610d5c-46a2-47f7-9854-b842a0b2f41e" providerId="ADAL" clId="{0B1BA025-456C-D440-A9DD-21C0B1A8C844}" dt="2021-10-12T14:55:13.151" v="379" actId="20577"/>
          <ac:spMkLst>
            <pc:docMk/>
            <pc:sldMk cId="829128610" sldId="2264"/>
            <ac:spMk id="32" creationId="{5E929BEA-93EF-7B4A-AEC6-4BD1961C0841}"/>
          </ac:spMkLst>
        </pc:spChg>
        <pc:spChg chg="del mod">
          <ac:chgData name="Philipp Rufer" userId="16610d5c-46a2-47f7-9854-b842a0b2f41e" providerId="ADAL" clId="{0B1BA025-456C-D440-A9DD-21C0B1A8C844}" dt="2021-10-12T15:04:23.025" v="645" actId="478"/>
          <ac:spMkLst>
            <pc:docMk/>
            <pc:sldMk cId="829128610" sldId="2264"/>
            <ac:spMk id="33" creationId="{53C30D0B-00FF-FF4F-A292-43CB629B0D7E}"/>
          </ac:spMkLst>
        </pc:spChg>
        <pc:spChg chg="add mod">
          <ac:chgData name="Philipp Rufer" userId="16610d5c-46a2-47f7-9854-b842a0b2f41e" providerId="ADAL" clId="{0B1BA025-456C-D440-A9DD-21C0B1A8C844}" dt="2021-10-12T15:02:01.807" v="563" actId="20577"/>
          <ac:spMkLst>
            <pc:docMk/>
            <pc:sldMk cId="829128610" sldId="2264"/>
            <ac:spMk id="34" creationId="{DB0BB251-4788-494B-BE50-697B549CCFAE}"/>
          </ac:spMkLst>
        </pc:spChg>
        <pc:spChg chg="add mod">
          <ac:chgData name="Philipp Rufer" userId="16610d5c-46a2-47f7-9854-b842a0b2f41e" providerId="ADAL" clId="{0B1BA025-456C-D440-A9DD-21C0B1A8C844}" dt="2021-10-12T15:01:40.608" v="533" actId="6549"/>
          <ac:spMkLst>
            <pc:docMk/>
            <pc:sldMk cId="829128610" sldId="2264"/>
            <ac:spMk id="35" creationId="{CA135851-6F98-7840-A7D8-4EBEC2EB504F}"/>
          </ac:spMkLst>
        </pc:spChg>
        <pc:spChg chg="del mod">
          <ac:chgData name="Philipp Rufer" userId="16610d5c-46a2-47f7-9854-b842a0b2f41e" providerId="ADAL" clId="{0B1BA025-456C-D440-A9DD-21C0B1A8C844}" dt="2021-10-12T15:05:46.945" v="692" actId="478"/>
          <ac:spMkLst>
            <pc:docMk/>
            <pc:sldMk cId="829128610" sldId="2264"/>
            <ac:spMk id="36" creationId="{8750C8EF-B600-9D43-9BBC-C0C110E84B5E}"/>
          </ac:spMkLst>
        </pc:spChg>
        <pc:spChg chg="add del mod">
          <ac:chgData name="Philipp Rufer" userId="16610d5c-46a2-47f7-9854-b842a0b2f41e" providerId="ADAL" clId="{0B1BA025-456C-D440-A9DD-21C0B1A8C844}" dt="2021-10-12T15:02:55.700" v="569" actId="478"/>
          <ac:spMkLst>
            <pc:docMk/>
            <pc:sldMk cId="829128610" sldId="2264"/>
            <ac:spMk id="37" creationId="{812D069F-40F6-D14A-8A37-1D575D848319}"/>
          </ac:spMkLst>
        </pc:spChg>
        <pc:spChg chg="add mod">
          <ac:chgData name="Philipp Rufer" userId="16610d5c-46a2-47f7-9854-b842a0b2f41e" providerId="ADAL" clId="{0B1BA025-456C-D440-A9DD-21C0B1A8C844}" dt="2021-10-12T15:06:18.746" v="731" actId="207"/>
          <ac:spMkLst>
            <pc:docMk/>
            <pc:sldMk cId="829128610" sldId="2264"/>
            <ac:spMk id="38" creationId="{146BD305-4D32-8844-AA4A-6652A8FEF23E}"/>
          </ac:spMkLst>
        </pc:spChg>
        <pc:spChg chg="add mod">
          <ac:chgData name="Philipp Rufer" userId="16610d5c-46a2-47f7-9854-b842a0b2f41e" providerId="ADAL" clId="{0B1BA025-456C-D440-A9DD-21C0B1A8C844}" dt="2021-10-12T15:05:26.454" v="689" actId="20577"/>
          <ac:spMkLst>
            <pc:docMk/>
            <pc:sldMk cId="829128610" sldId="2264"/>
            <ac:spMk id="39" creationId="{08669A4B-7EFB-A244-ABE8-F6C78CE0A706}"/>
          </ac:spMkLst>
        </pc:spChg>
        <pc:spChg chg="add mod">
          <ac:chgData name="Philipp Rufer" userId="16610d5c-46a2-47f7-9854-b842a0b2f41e" providerId="ADAL" clId="{0B1BA025-456C-D440-A9DD-21C0B1A8C844}" dt="2021-10-12T15:06:06.437" v="729" actId="207"/>
          <ac:spMkLst>
            <pc:docMk/>
            <pc:sldMk cId="829128610" sldId="2264"/>
            <ac:spMk id="40" creationId="{0DFC5BB5-57D3-674A-A81F-60BEF05A37A0}"/>
          </ac:spMkLst>
        </pc:spChg>
        <pc:spChg chg="mod">
          <ac:chgData name="Philipp Rufer" userId="16610d5c-46a2-47f7-9854-b842a0b2f41e" providerId="ADAL" clId="{0B1BA025-456C-D440-A9DD-21C0B1A8C844}" dt="2021-10-12T15:00:55.860" v="483" actId="20577"/>
          <ac:spMkLst>
            <pc:docMk/>
            <pc:sldMk cId="829128610" sldId="2264"/>
            <ac:spMk id="42" creationId="{6A41D5CB-4E70-6846-8F9C-2228EDFDFAAA}"/>
          </ac:spMkLst>
        </pc:spChg>
        <pc:spChg chg="del mod">
          <ac:chgData name="Philipp Rufer" userId="16610d5c-46a2-47f7-9854-b842a0b2f41e" providerId="ADAL" clId="{0B1BA025-456C-D440-A9DD-21C0B1A8C844}" dt="2021-10-12T14:58:38.663" v="382" actId="478"/>
          <ac:spMkLst>
            <pc:docMk/>
            <pc:sldMk cId="829128610" sldId="2264"/>
            <ac:spMk id="43" creationId="{D243836A-8D6F-F84A-A175-5541CD2FB1E6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44" creationId="{A04D3A95-0C9F-EC43-9B98-70E822F547F7}"/>
          </ac:spMkLst>
        </pc:spChg>
        <pc:spChg chg="mod">
          <ac:chgData name="Philipp Rufer" userId="16610d5c-46a2-47f7-9854-b842a0b2f41e" providerId="ADAL" clId="{0B1BA025-456C-D440-A9DD-21C0B1A8C844}" dt="2021-10-12T14:41:12.866" v="5" actId="2711"/>
          <ac:spMkLst>
            <pc:docMk/>
            <pc:sldMk cId="829128610" sldId="2264"/>
            <ac:spMk id="45" creationId="{F8CFEFBC-7C0E-284D-A4A4-6E759F3DA996}"/>
          </ac:spMkLst>
        </pc:spChg>
        <pc:spChg chg="del">
          <ac:chgData name="Philipp Rufer" userId="16610d5c-46a2-47f7-9854-b842a0b2f41e" providerId="ADAL" clId="{0B1BA025-456C-D440-A9DD-21C0B1A8C844}" dt="2021-10-12T14:40:53.316" v="4" actId="478"/>
          <ac:spMkLst>
            <pc:docMk/>
            <pc:sldMk cId="829128610" sldId="2264"/>
            <ac:spMk id="46" creationId="{9D93B4CE-C14C-FF48-9108-B83281F974D6}"/>
          </ac:spMkLst>
        </pc:spChg>
        <pc:grpChg chg="del">
          <ac:chgData name="Philipp Rufer" userId="16610d5c-46a2-47f7-9854-b842a0b2f41e" providerId="ADAL" clId="{0B1BA025-456C-D440-A9DD-21C0B1A8C844}" dt="2021-10-12T15:03:05.492" v="580" actId="478"/>
          <ac:grpSpMkLst>
            <pc:docMk/>
            <pc:sldMk cId="829128610" sldId="2264"/>
            <ac:grpSpMk id="14" creationId="{94EFBCF4-3F77-DE44-86FB-0D01E0C51204}"/>
          </ac:grpSpMkLst>
        </pc:grpChg>
        <pc:grpChg chg="del">
          <ac:chgData name="Philipp Rufer" userId="16610d5c-46a2-47f7-9854-b842a0b2f41e" providerId="ADAL" clId="{0B1BA025-456C-D440-A9DD-21C0B1A8C844}" dt="2021-10-12T15:03:06.605" v="581" actId="478"/>
          <ac:grpSpMkLst>
            <pc:docMk/>
            <pc:sldMk cId="829128610" sldId="2264"/>
            <ac:grpSpMk id="16" creationId="{0BD32621-A153-7D4A-BACC-045A12FB8A2E}"/>
          </ac:grpSpMkLst>
        </pc:grpChg>
        <pc:graphicFrameChg chg="mod modGraphic">
          <ac:chgData name="Philipp Rufer" userId="16610d5c-46a2-47f7-9854-b842a0b2f41e" providerId="ADAL" clId="{0B1BA025-456C-D440-A9DD-21C0B1A8C844}" dt="2021-10-12T14:52:00.509" v="284" actId="14100"/>
          <ac:graphicFrameMkLst>
            <pc:docMk/>
            <pc:sldMk cId="829128610" sldId="2264"/>
            <ac:graphicFrameMk id="24" creationId="{5DFBA2F3-6D7F-8D47-BA25-D79823FF3ADD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BFEC2736-8B77-4BEE-A772-161CDDBCAADA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2711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Textmasterformate durch Klicken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9229196-C9FC-4802-961C-4C00704C5580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56278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B70B7FB-FB30-4DBA-B871-427F0943A89C}" type="slidenum">
              <a:rPr lang="de-CH"/>
              <a:pPr/>
              <a:t>1</a:t>
            </a:fld>
            <a:endParaRPr lang="de-CH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229196-C9FC-4802-961C-4C00704C5580}" type="slidenum">
              <a:rPr lang="de-CH" smtClean="0"/>
              <a:pPr>
                <a:defRPr/>
              </a:pPr>
              <a:t>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6367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72B5662-16DB-8D49-BD7C-2242A3FB75E3}" type="slidenum">
              <a:rPr lang="de-CH" smtClean="0"/>
              <a:pPr>
                <a:defRPr/>
              </a:pPr>
              <a:t>4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98972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229196-C9FC-4802-961C-4C00704C5580}" type="slidenum">
              <a:rPr lang="de-CH" smtClean="0"/>
              <a:pPr>
                <a:defRPr/>
              </a:pPr>
              <a:t>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41855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6885" y="1692052"/>
            <a:ext cx="8895080" cy="1570038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3988" y="3420251"/>
            <a:ext cx="8023013" cy="183038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200"/>
            </a:lvl1pPr>
          </a:lstStyle>
          <a:p>
            <a:r>
              <a:rPr lang="de-DE" dirty="0"/>
              <a:t>Formatvorlage des Untertitelmasters durch Klicken bearbeiten</a:t>
            </a:r>
            <a:endParaRPr lang="de-CH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29B0731C-8A6E-8745-A4C6-1C2032F95197}"/>
              </a:ext>
            </a:extLst>
          </p:cNvPr>
          <p:cNvGrpSpPr/>
          <p:nvPr userDrawn="1"/>
        </p:nvGrpSpPr>
        <p:grpSpPr>
          <a:xfrm>
            <a:off x="0" y="7668716"/>
            <a:ext cx="10473878" cy="251892"/>
            <a:chOff x="0" y="7740724"/>
            <a:chExt cx="9151932" cy="251892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2E9D2F5-8866-1043-AF80-17806120F5DF}"/>
                </a:ext>
              </a:extLst>
            </p:cNvPr>
            <p:cNvSpPr/>
            <p:nvPr userDrawn="1"/>
          </p:nvSpPr>
          <p:spPr>
            <a:xfrm>
              <a:off x="0" y="7740724"/>
              <a:ext cx="3059832" cy="251892"/>
            </a:xfrm>
            <a:prstGeom prst="rect">
              <a:avLst/>
            </a:prstGeom>
            <a:solidFill>
              <a:srgbClr val="064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005CCBD-5798-6941-8840-46C11A4A061E}"/>
                </a:ext>
              </a:extLst>
            </p:cNvPr>
            <p:cNvSpPr/>
            <p:nvPr userDrawn="1"/>
          </p:nvSpPr>
          <p:spPr>
            <a:xfrm>
              <a:off x="3053166" y="7740724"/>
              <a:ext cx="3045600" cy="251892"/>
            </a:xfrm>
            <a:prstGeom prst="rect">
              <a:avLst/>
            </a:prstGeom>
            <a:solidFill>
              <a:srgbClr val="D721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EA6841D-168A-B84A-9279-785B5E351086}"/>
                </a:ext>
              </a:extLst>
            </p:cNvPr>
            <p:cNvSpPr/>
            <p:nvPr userDrawn="1"/>
          </p:nvSpPr>
          <p:spPr>
            <a:xfrm>
              <a:off x="6084168" y="7740724"/>
              <a:ext cx="3067764" cy="251892"/>
            </a:xfrm>
            <a:prstGeom prst="rect">
              <a:avLst/>
            </a:prstGeom>
            <a:solidFill>
              <a:srgbClr val="429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8DBEDDDD-47C5-7B44-95F3-775C6006DB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6526957"/>
            <a:ext cx="4608512" cy="709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1pPr>
            <a:lvl2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2pPr>
            <a:lvl3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3pPr>
            <a:lvl4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4pPr>
            <a:lvl5pPr>
              <a:lnSpc>
                <a:spcPct val="114000"/>
              </a:lnSpc>
              <a:spcBef>
                <a:spcPts val="458"/>
              </a:spcBef>
              <a:spcAft>
                <a:spcPts val="320"/>
              </a:spcAft>
              <a:buClr>
                <a:srgbClr val="0641A2"/>
              </a:buClr>
              <a:defRPr sz="2200"/>
            </a:lvl5pPr>
          </a:lstStyle>
          <a:p>
            <a:pPr lvl="0"/>
            <a:r>
              <a:rPr lang="de-DE" dirty="0"/>
              <a:t>Textmasterformate durch Klicken </a:t>
            </a:r>
            <a:r>
              <a:rPr lang="de-DE" dirty="0" err="1"/>
              <a:t>bearbeitenfslkdjf</a:t>
            </a:r>
            <a:r>
              <a:rPr lang="de-DE" dirty="0"/>
              <a:t> </a:t>
            </a:r>
            <a:r>
              <a:rPr lang="de-DE" dirty="0" err="1"/>
              <a:t>söldkfj</a:t>
            </a:r>
            <a:r>
              <a:rPr lang="de-DE" dirty="0"/>
              <a:t> </a:t>
            </a:r>
            <a:r>
              <a:rPr lang="de-DE" dirty="0" err="1"/>
              <a:t>söldkjfsöldjflösdkjf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332DA8A-7B9E-F749-ACD3-53B0592EAA8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58589" y="179884"/>
            <a:ext cx="7870177" cy="96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r>
              <a:rPr lang="de-DE" dirty="0"/>
              <a:t>Test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48600" y="2005020"/>
            <a:ext cx="4491143" cy="4886325"/>
          </a:xfrm>
        </p:spPr>
        <p:txBody>
          <a:bodyPr/>
          <a:lstStyle>
            <a:lvl1pPr>
              <a:buClr>
                <a:srgbClr val="0641A2"/>
              </a:buClr>
              <a:defRPr sz="2200"/>
            </a:lvl1pPr>
            <a:lvl2pPr>
              <a:buClr>
                <a:srgbClr val="0641A2"/>
              </a:buClr>
              <a:defRPr sz="2200"/>
            </a:lvl2pPr>
            <a:lvl3pPr>
              <a:buClr>
                <a:srgbClr val="0641A2"/>
              </a:buClr>
              <a:defRPr sz="2200"/>
            </a:lvl3pPr>
            <a:lvl4pPr>
              <a:buClr>
                <a:srgbClr val="0641A2"/>
              </a:buClr>
              <a:defRPr sz="2200"/>
            </a:lvl4pPr>
            <a:lvl5pPr>
              <a:buClr>
                <a:srgbClr val="0641A2"/>
              </a:buClr>
              <a:defRPr sz="2200"/>
            </a:lvl5pPr>
            <a:lvl6pPr>
              <a:defRPr sz="2060"/>
            </a:lvl6pPr>
            <a:lvl7pPr>
              <a:defRPr sz="2060"/>
            </a:lvl7pPr>
            <a:lvl8pPr>
              <a:defRPr sz="2060"/>
            </a:lvl8pPr>
            <a:lvl9pPr>
              <a:defRPr sz="206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4157" y="2005020"/>
            <a:ext cx="4491143" cy="4886325"/>
          </a:xfrm>
        </p:spPr>
        <p:txBody>
          <a:bodyPr/>
          <a:lstStyle>
            <a:lvl1pPr>
              <a:buClr>
                <a:srgbClr val="0641A2"/>
              </a:buClr>
              <a:defRPr sz="2200"/>
            </a:lvl1pPr>
            <a:lvl2pPr>
              <a:buClr>
                <a:srgbClr val="0641A2"/>
              </a:buClr>
              <a:defRPr sz="2200"/>
            </a:lvl2pPr>
            <a:lvl3pPr>
              <a:buClr>
                <a:srgbClr val="0641A2"/>
              </a:buClr>
              <a:defRPr sz="2200"/>
            </a:lvl3pPr>
            <a:lvl4pPr>
              <a:buClr>
                <a:srgbClr val="0641A2"/>
              </a:buClr>
              <a:defRPr sz="2200"/>
            </a:lvl4pPr>
            <a:lvl5pPr>
              <a:buClr>
                <a:srgbClr val="0641A2"/>
              </a:buClr>
              <a:defRPr sz="2200"/>
            </a:lvl5pPr>
            <a:lvl6pPr>
              <a:defRPr sz="2060"/>
            </a:lvl6pPr>
            <a:lvl7pPr>
              <a:defRPr sz="2060"/>
            </a:lvl7pPr>
            <a:lvl8pPr>
              <a:defRPr sz="2060"/>
            </a:lvl8pPr>
            <a:lvl9pPr>
              <a:defRPr sz="206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9217945B-704E-2541-B21D-D4BD758159F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58589" y="-321987"/>
            <a:ext cx="9156700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3241" y="1757370"/>
            <a:ext cx="4623771" cy="73183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523208" indent="0">
              <a:buNone/>
              <a:defRPr sz="2289" b="1"/>
            </a:lvl2pPr>
            <a:lvl3pPr marL="1046414" indent="0">
              <a:buNone/>
              <a:defRPr sz="2060" b="1"/>
            </a:lvl3pPr>
            <a:lvl4pPr marL="1569622" indent="0">
              <a:buNone/>
              <a:defRPr sz="1831" b="1"/>
            </a:lvl4pPr>
            <a:lvl5pPr marL="2092831" indent="0">
              <a:buNone/>
              <a:defRPr sz="1831" b="1"/>
            </a:lvl5pPr>
            <a:lvl6pPr marL="2616037" indent="0">
              <a:buNone/>
              <a:defRPr sz="1831" b="1"/>
            </a:lvl6pPr>
            <a:lvl7pPr marL="3139245" indent="0">
              <a:buNone/>
              <a:defRPr sz="1831" b="1"/>
            </a:lvl7pPr>
            <a:lvl8pPr marL="3662453" indent="0">
              <a:buNone/>
              <a:defRPr sz="1831" b="1"/>
            </a:lvl8pPr>
            <a:lvl9pPr marL="4185659" indent="0">
              <a:buNone/>
              <a:defRPr sz="1831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23241" y="2489200"/>
            <a:ext cx="4623771" cy="4521200"/>
          </a:xfrm>
        </p:spPr>
        <p:txBody>
          <a:bodyPr/>
          <a:lstStyle>
            <a:lvl1pPr>
              <a:buClr>
                <a:srgbClr val="0641A2"/>
              </a:buClr>
              <a:defRPr sz="2500"/>
            </a:lvl1pPr>
            <a:lvl2pPr>
              <a:buClr>
                <a:srgbClr val="0641A2"/>
              </a:buClr>
              <a:defRPr sz="2000"/>
            </a:lvl2pPr>
            <a:lvl3pPr>
              <a:buClr>
                <a:srgbClr val="0641A2"/>
              </a:buClr>
              <a:defRPr sz="1800"/>
            </a:lvl3pPr>
            <a:lvl4pPr>
              <a:buClr>
                <a:srgbClr val="0641A2"/>
              </a:buClr>
              <a:defRPr sz="1600"/>
            </a:lvl4pPr>
            <a:lvl5pPr>
              <a:buClr>
                <a:srgbClr val="0641A2"/>
              </a:buClr>
              <a:defRPr sz="1600"/>
            </a:lvl5pPr>
            <a:lvl6pPr>
              <a:defRPr sz="1831"/>
            </a:lvl6pPr>
            <a:lvl7pPr>
              <a:defRPr sz="1831"/>
            </a:lvl7pPr>
            <a:lvl8pPr>
              <a:defRPr sz="1831"/>
            </a:lvl8pPr>
            <a:lvl9pPr>
              <a:defRPr sz="1831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315977" y="1757370"/>
            <a:ext cx="4625587" cy="73183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523208" indent="0">
              <a:buNone/>
              <a:defRPr sz="2289" b="1"/>
            </a:lvl2pPr>
            <a:lvl3pPr marL="1046414" indent="0">
              <a:buNone/>
              <a:defRPr sz="2060" b="1"/>
            </a:lvl3pPr>
            <a:lvl4pPr marL="1569622" indent="0">
              <a:buNone/>
              <a:defRPr sz="1831" b="1"/>
            </a:lvl4pPr>
            <a:lvl5pPr marL="2092831" indent="0">
              <a:buNone/>
              <a:defRPr sz="1831" b="1"/>
            </a:lvl5pPr>
            <a:lvl6pPr marL="2616037" indent="0">
              <a:buNone/>
              <a:defRPr sz="1831" b="1"/>
            </a:lvl6pPr>
            <a:lvl7pPr marL="3139245" indent="0">
              <a:buNone/>
              <a:defRPr sz="1831" b="1"/>
            </a:lvl7pPr>
            <a:lvl8pPr marL="3662453" indent="0">
              <a:buNone/>
              <a:defRPr sz="1831" b="1"/>
            </a:lvl8pPr>
            <a:lvl9pPr marL="4185659" indent="0">
              <a:buNone/>
              <a:defRPr sz="1831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315977" y="2489200"/>
            <a:ext cx="4625587" cy="4521200"/>
          </a:xfrm>
        </p:spPr>
        <p:txBody>
          <a:bodyPr/>
          <a:lstStyle>
            <a:lvl1pPr marL="305203" marR="0" indent="-2924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2200"/>
            </a:lvl1pPr>
            <a:lvl2pPr marL="664909" marR="0" indent="-319737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971931" marR="0" indent="-26705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800"/>
            </a:lvl3pPr>
            <a:lvl4pPr marL="1278952" marR="0" indent="-307022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600"/>
            </a:lvl4pPr>
            <a:lvl5pPr marL="1638657" marR="0" indent="-307022" algn="l" defTabSz="91440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641A2"/>
              </a:buClr>
              <a:buSzTx/>
              <a:buFont typeface="Arial" panose="020B0604020202020204" pitchFamily="34" charset="0"/>
              <a:buChar char="•"/>
              <a:tabLst/>
              <a:defRPr sz="1600"/>
            </a:lvl5pPr>
            <a:lvl6pPr>
              <a:defRPr sz="1831"/>
            </a:lvl6pPr>
            <a:lvl7pPr>
              <a:defRPr sz="1831"/>
            </a:lvl7pPr>
            <a:lvl8pPr>
              <a:defRPr sz="1831"/>
            </a:lvl8pPr>
            <a:lvl9pPr>
              <a:defRPr sz="1831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36F1DA0E-60AD-0542-A78A-88D1A73E36E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58589" y="-321987"/>
            <a:ext cx="9156700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7684" y="349250"/>
            <a:ext cx="9156700" cy="139065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48600" y="2005014"/>
            <a:ext cx="4491143" cy="48863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14157" y="2005014"/>
            <a:ext cx="4491143" cy="48863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8E41DA-32EF-45EE-93B2-F3856D1145DF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90335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993B14EB-54EF-524D-BA7F-4B33EB428A55}"/>
              </a:ext>
            </a:extLst>
          </p:cNvPr>
          <p:cNvSpPr/>
          <p:nvPr userDrawn="1"/>
        </p:nvSpPr>
        <p:spPr>
          <a:xfrm>
            <a:off x="0" y="1"/>
            <a:ext cx="8611175" cy="1187995"/>
          </a:xfrm>
          <a:prstGeom prst="rect">
            <a:avLst/>
          </a:prstGeom>
          <a:solidFill>
            <a:srgbClr val="0641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641A2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8600" y="1679764"/>
            <a:ext cx="9303942" cy="488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/>
              <a:t>Textmasterformate durch Klicken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9AA5C10-10EE-C94B-996B-5DBAF29E580B}"/>
              </a:ext>
            </a:extLst>
          </p:cNvPr>
          <p:cNvSpPr/>
          <p:nvPr userDrawn="1"/>
        </p:nvSpPr>
        <p:spPr>
          <a:xfrm>
            <a:off x="0" y="7668716"/>
            <a:ext cx="3501808" cy="251892"/>
          </a:xfrm>
          <a:prstGeom prst="rect">
            <a:avLst/>
          </a:prstGeom>
          <a:solidFill>
            <a:srgbClr val="0641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0953912-9A88-814C-A99F-612658020BD7}"/>
              </a:ext>
            </a:extLst>
          </p:cNvPr>
          <p:cNvSpPr/>
          <p:nvPr userDrawn="1"/>
        </p:nvSpPr>
        <p:spPr>
          <a:xfrm>
            <a:off x="3494179" y="7668716"/>
            <a:ext cx="3485520" cy="251892"/>
          </a:xfrm>
          <a:prstGeom prst="rect">
            <a:avLst/>
          </a:prstGeom>
          <a:solidFill>
            <a:srgbClr val="D721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2A3C337-70E2-0545-B8C6-D3A361CDBF50}"/>
              </a:ext>
            </a:extLst>
          </p:cNvPr>
          <p:cNvSpPr/>
          <p:nvPr userDrawn="1"/>
        </p:nvSpPr>
        <p:spPr>
          <a:xfrm>
            <a:off x="6962996" y="7668716"/>
            <a:ext cx="3510885" cy="251892"/>
          </a:xfrm>
          <a:prstGeom prst="rect">
            <a:avLst/>
          </a:prstGeom>
          <a:solidFill>
            <a:srgbClr val="429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3B37404-6637-F640-8FFE-10868D6FFAB6}"/>
              </a:ext>
            </a:extLst>
          </p:cNvPr>
          <p:cNvSpPr txBox="1">
            <a:spLocks/>
          </p:cNvSpPr>
          <p:nvPr userDrawn="1"/>
        </p:nvSpPr>
        <p:spPr>
          <a:xfrm>
            <a:off x="630716" y="7617715"/>
            <a:ext cx="956886" cy="365125"/>
          </a:xfrm>
          <a:prstGeom prst="rect">
            <a:avLst/>
          </a:prstGeom>
        </p:spPr>
        <p:txBody>
          <a:bodyPr vert="horz" lIns="104648" tIns="52324" rIns="104648" bIns="52324" rtlCol="0" anchor="ctr"/>
          <a:lstStyle>
            <a:defPPr>
              <a:defRPr lang="de-CH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22442D0D-C005-624C-9424-C3C0683CA9BA}" type="slidenum">
              <a:rPr lang="de-DE" sz="1259" b="1" smtClean="0">
                <a:solidFill>
                  <a:schemeClr val="bg1"/>
                </a:solidFill>
                <a:latin typeface="Martel Sans" pitchFamily="2" charset="77"/>
                <a:cs typeface="Martel Sans" pitchFamily="2" charset="77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259" b="1" dirty="0">
              <a:solidFill>
                <a:schemeClr val="bg1"/>
              </a:solidFill>
              <a:latin typeface="Martel Sans" pitchFamily="2" charset="77"/>
              <a:cs typeface="Martel Sans" pitchFamily="2" charset="77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5EAA11B7-6A2B-C641-BF63-28D95B2CC05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58589" y="179884"/>
            <a:ext cx="7787768" cy="96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4648" tIns="52324" rIns="104648" bIns="5232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i="0">
                <a:solidFill>
                  <a:schemeClr val="bg1"/>
                </a:solidFill>
                <a:latin typeface="Martel Sans" pitchFamily="2" charset="77"/>
                <a:ea typeface="+mj-ea"/>
                <a:cs typeface="Martel Sans" pitchFamily="2" charset="77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endParaRPr lang="de-DE" sz="3200" kern="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B6FAF06-BE5B-344D-A5B7-C831A452146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5969" y="323900"/>
            <a:ext cx="996573" cy="5568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7" r:id="rId2"/>
    <p:sldLayoutId id="2147483669" r:id="rId3"/>
    <p:sldLayoutId id="2147483670" r:id="rId4"/>
    <p:sldLayoutId id="2147483680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62" b="1" i="0">
          <a:solidFill>
            <a:schemeClr val="bg1"/>
          </a:solidFill>
          <a:latin typeface="Martel Sans" pitchFamily="2" charset="77"/>
          <a:ea typeface="+mj-ea"/>
          <a:cs typeface="Martel Sans" pitchFamily="2" charset="77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5pPr>
      <a:lvl6pPr marL="523208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6pPr>
      <a:lvl7pPr marL="1046414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7pPr>
      <a:lvl8pPr marL="1569622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8pPr>
      <a:lvl9pPr marL="2092831" algn="l" rtl="0" eaLnBrk="1" fontAlgn="base" hangingPunct="1">
        <a:spcBef>
          <a:spcPct val="0"/>
        </a:spcBef>
        <a:spcAft>
          <a:spcPct val="0"/>
        </a:spcAft>
        <a:defRPr sz="4349">
          <a:solidFill>
            <a:schemeClr val="tx2"/>
          </a:solidFill>
          <a:latin typeface="Verdana" pitchFamily="34" charset="0"/>
        </a:defRPr>
      </a:lvl9pPr>
    </p:titleStyle>
    <p:bodyStyle>
      <a:lvl1pPr marL="305203" indent="-292488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ea typeface="+mn-ea"/>
          <a:cs typeface="Martel Sans" pitchFamily="2" charset="77"/>
        </a:defRPr>
      </a:lvl1pPr>
      <a:lvl2pPr marL="664909" indent="-319737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2pPr>
      <a:lvl3pPr marL="971931" indent="-267055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3pPr>
      <a:lvl4pPr marL="1278952" indent="-307022" algn="l" rtl="0" eaLnBrk="1" fontAlgn="base" hangingPunct="1">
        <a:spcBef>
          <a:spcPct val="20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4pPr>
      <a:lvl5pPr marL="1638657" indent="-307022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Arial" panose="020B0604020202020204" pitchFamily="34" charset="0"/>
        <a:buChar char="•"/>
        <a:tabLst/>
        <a:defRPr sz="2200" b="0" i="0">
          <a:solidFill>
            <a:schemeClr val="tx1"/>
          </a:solidFill>
          <a:latin typeface="Martel Sans" pitchFamily="2" charset="77"/>
          <a:cs typeface="Martel Sans" pitchFamily="2" charset="77"/>
        </a:defRPr>
      </a:lvl5pPr>
      <a:lvl6pPr marL="2919426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6pPr>
      <a:lvl7pPr marL="3442633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7pPr>
      <a:lvl8pPr marL="3965840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8pPr>
      <a:lvl9pPr marL="4489049" indent="-455991" algn="l" rtl="0" eaLnBrk="1" fontAlgn="base" hangingPunct="1">
        <a:spcBef>
          <a:spcPct val="25000"/>
        </a:spcBef>
        <a:spcAft>
          <a:spcPct val="0"/>
        </a:spcAft>
        <a:buClr>
          <a:srgbClr val="3366CC"/>
        </a:buClr>
        <a:buFont typeface="Wingdings" pitchFamily="2" charset="2"/>
        <a:buChar char="§"/>
        <a:defRPr sz="2289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1pPr>
      <a:lvl2pPr marL="523208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2pPr>
      <a:lvl3pPr marL="1046414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3pPr>
      <a:lvl4pPr marL="1569622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4pPr>
      <a:lvl5pPr marL="2092831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5pPr>
      <a:lvl6pPr marL="2616037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6pPr>
      <a:lvl7pPr marL="3139245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7pPr>
      <a:lvl8pPr marL="3662453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8pPr>
      <a:lvl9pPr marL="4185659" algn="l" defTabSz="1046414" rtl="0" eaLnBrk="1" latinLnBrk="0" hangingPunct="1">
        <a:defRPr sz="2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2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tif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2450" y="1260004"/>
            <a:ext cx="9432478" cy="3226222"/>
          </a:xfrm>
        </p:spPr>
        <p:txBody>
          <a:bodyPr/>
          <a:lstStyle/>
          <a:p>
            <a:r>
              <a:rPr lang="de-CH" sz="5400" dirty="0"/>
              <a:t>Medizin statt Bürokratie!</a:t>
            </a:r>
            <a:r>
              <a:rPr lang="de-CH" sz="4400" dirty="0"/>
              <a:t/>
            </a:r>
            <a:br>
              <a:rPr lang="de-CH" sz="4400" dirty="0"/>
            </a:br>
            <a:r>
              <a:rPr lang="de-CH" sz="3200" dirty="0"/>
              <a:t/>
            </a:r>
            <a:br>
              <a:rPr lang="de-CH" sz="3200" dirty="0"/>
            </a:br>
            <a:r>
              <a:rPr lang="de-CH" dirty="0"/>
              <a:t>Konzept für Klinikprojekt «Bürokratie-Reduktion» in</a:t>
            </a:r>
            <a:br>
              <a:rPr lang="de-CH" dirty="0"/>
            </a:br>
            <a:r>
              <a:rPr lang="de-CH" dirty="0"/>
              <a:t>der </a:t>
            </a:r>
            <a:r>
              <a:rPr lang="de-CH" i="1" dirty="0">
                <a:highlight>
                  <a:srgbClr val="C0C0C0"/>
                </a:highlight>
              </a:rPr>
              <a:t>Name deiner Klinik</a:t>
            </a:r>
            <a:r>
              <a:rPr lang="de-CH" dirty="0"/>
              <a:t/>
            </a:r>
            <a:br>
              <a:rPr lang="de-CH" dirty="0"/>
            </a:br>
            <a:endParaRPr lang="de-CH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2EE9D0C-8A54-9646-BCD9-79962AEF1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4488" y="2916188"/>
            <a:ext cx="4728344" cy="4728344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9F2BCBA5-63FE-D44A-B9EA-289E48736772}"/>
              </a:ext>
            </a:extLst>
          </p:cNvPr>
          <p:cNvSpPr txBox="1">
            <a:spLocks noChangeArrowheads="1"/>
          </p:cNvSpPr>
          <p:nvPr/>
        </p:nvSpPr>
        <p:spPr>
          <a:xfrm>
            <a:off x="559076" y="4572372"/>
            <a:ext cx="6617540" cy="1792154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000" b="1" i="0">
                <a:solidFill>
                  <a:schemeClr val="tx1"/>
                </a:solidFill>
                <a:latin typeface="Martel Sans" pitchFamily="2" charset="77"/>
                <a:ea typeface="+mj-ea"/>
                <a:cs typeface="Martel Sans" pitchFamily="2" charset="77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5pPr>
            <a:lvl6pPr marL="523208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6pPr>
            <a:lvl7pPr marL="1046414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7pPr>
            <a:lvl8pPr marL="1569622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8pPr>
            <a:lvl9pPr marL="2092831" algn="l" rtl="0" eaLnBrk="1" fontAlgn="base" hangingPunct="1">
              <a:spcBef>
                <a:spcPct val="0"/>
              </a:spcBef>
              <a:spcAft>
                <a:spcPct val="0"/>
              </a:spcAft>
              <a:defRPr sz="4349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de-CH" sz="2800" b="0" kern="0" dirty="0"/>
              <a:t>Das Konzept erklärt die Grundidee, Vorgehensweise und Organisation des Projekts.</a:t>
            </a:r>
            <a:endParaRPr lang="de-CH" b="0" kern="0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E765760-CE03-9042-B910-C888782112C6}"/>
              </a:ext>
            </a:extLst>
          </p:cNvPr>
          <p:cNvSpPr/>
          <p:nvPr/>
        </p:nvSpPr>
        <p:spPr>
          <a:xfrm>
            <a:off x="7752680" y="251892"/>
            <a:ext cx="2447702" cy="7920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o Spit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9182A45-8E98-5545-919E-263E6C324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600" y="1679764"/>
            <a:ext cx="9336328" cy="4886325"/>
          </a:xfrm>
        </p:spPr>
        <p:txBody>
          <a:bodyPr/>
          <a:lstStyle/>
          <a:p>
            <a:r>
              <a:rPr lang="de-CH" sz="1800" b="1" dirty="0"/>
              <a:t>Ausgangslage</a:t>
            </a:r>
            <a:r>
              <a:rPr lang="de-CH" sz="1800" dirty="0"/>
              <a:t>: Der </a:t>
            </a:r>
            <a:r>
              <a:rPr lang="de-CH" sz="1800" dirty="0" err="1"/>
              <a:t>vsao</a:t>
            </a:r>
            <a:r>
              <a:rPr lang="de-CH" sz="1800" dirty="0"/>
              <a:t> startete 2017 die Kampagne «Medizin statt Bürokratie!». </a:t>
            </a:r>
          </a:p>
          <a:p>
            <a:pPr lvl="1"/>
            <a:r>
              <a:rPr lang="de-CH" sz="1800" dirty="0"/>
              <a:t>Die erste Phase </a:t>
            </a:r>
            <a:r>
              <a:rPr lang="de-CH" sz="1800" dirty="0" smtClean="0"/>
              <a:t>fokussierte </a:t>
            </a:r>
            <a:r>
              <a:rPr lang="de-CH" sz="1800" dirty="0"/>
              <a:t>auf die Sensibilisierung von Spitälern und Weiterbildungsstätten. </a:t>
            </a:r>
          </a:p>
          <a:p>
            <a:pPr lvl="1"/>
            <a:r>
              <a:rPr lang="de-CH" sz="1800" dirty="0"/>
              <a:t>In der zweiten Phase wurden bestehende Lösungen in Spitälern portraitiert, sowie politische </a:t>
            </a:r>
            <a:r>
              <a:rPr lang="de-CH" sz="1800" dirty="0" smtClean="0"/>
              <a:t>Lobbying-Arbeit </a:t>
            </a:r>
            <a:r>
              <a:rPr lang="de-CH" sz="1800" dirty="0"/>
              <a:t>im Bundeshaus geleistet. </a:t>
            </a:r>
          </a:p>
          <a:p>
            <a:pPr lvl="1"/>
            <a:r>
              <a:rPr lang="de-CH" sz="1800" dirty="0"/>
              <a:t>Die </a:t>
            </a:r>
            <a:r>
              <a:rPr lang="de-CH" sz="1800" dirty="0" smtClean="0"/>
              <a:t>dritte </a:t>
            </a:r>
            <a:r>
              <a:rPr lang="de-CH" sz="1800" dirty="0"/>
              <a:t>Phase </a:t>
            </a:r>
            <a:r>
              <a:rPr lang="de-CH" sz="1800" dirty="0" smtClean="0"/>
              <a:t>hatte </a:t>
            </a:r>
            <a:r>
              <a:rPr lang="de-CH" sz="1800" dirty="0"/>
              <a:t>zum </a:t>
            </a:r>
            <a:r>
              <a:rPr lang="de-CH" sz="1800" dirty="0" smtClean="0"/>
              <a:t>Ziel, </a:t>
            </a:r>
            <a:r>
              <a:rPr lang="de-CH" sz="1800" dirty="0"/>
              <a:t>über </a:t>
            </a:r>
            <a:r>
              <a:rPr lang="de-CH" sz="1800" dirty="0" smtClean="0"/>
              <a:t>mehrere kleine </a:t>
            </a:r>
            <a:r>
              <a:rPr lang="de-CH" sz="1800" dirty="0"/>
              <a:t>Projekte in Kliniken die Reduktion von Bürokratie zu unterstützen. Mit zwei Pilotkliniken wurde der Entwicklungsprozess durchlaufen und ein Projekt-Handbuch </a:t>
            </a:r>
            <a:r>
              <a:rPr lang="de-DE" sz="1800" dirty="0"/>
              <a:t>«Bürokratie-Reduktion» </a:t>
            </a:r>
            <a:r>
              <a:rPr lang="de-CH" sz="1800" dirty="0"/>
              <a:t>als Vorlage und Unterstützung für weitere Kliniken erstellt.</a:t>
            </a:r>
          </a:p>
          <a:p>
            <a:pPr algn="just"/>
            <a:r>
              <a:rPr lang="de-DE" sz="1800" b="1" dirty="0"/>
              <a:t>Ziel</a:t>
            </a:r>
            <a:r>
              <a:rPr lang="de-DE" sz="1800" dirty="0"/>
              <a:t>: Wir starten auch in unserer Klink </a:t>
            </a:r>
            <a:r>
              <a:rPr lang="de-DE" sz="1800" dirty="0">
                <a:highlight>
                  <a:srgbClr val="C0C0C0"/>
                </a:highlight>
              </a:rPr>
              <a:t>«Name der Klinik</a:t>
            </a:r>
            <a:r>
              <a:rPr lang="de-DE" sz="1800" dirty="0" smtClean="0">
                <a:highlight>
                  <a:srgbClr val="C0C0C0"/>
                </a:highlight>
              </a:rPr>
              <a:t>»</a:t>
            </a:r>
            <a:r>
              <a:rPr lang="de-DE" sz="1800" dirty="0" smtClean="0"/>
              <a:t> ein Projekt «Bürokratie-Reduktion», um </a:t>
            </a:r>
            <a:r>
              <a:rPr lang="de-DE" sz="1800" dirty="0"/>
              <a:t>konkrete Massnahmen zur Reduktion von </a:t>
            </a:r>
            <a:r>
              <a:rPr lang="de-DE" sz="1800" dirty="0" smtClean="0"/>
              <a:t>überflüssigen </a:t>
            </a:r>
            <a:r>
              <a:rPr lang="de-DE" sz="1800" dirty="0" err="1" smtClean="0"/>
              <a:t>admini-strativen</a:t>
            </a:r>
            <a:r>
              <a:rPr lang="de-DE" sz="1800" dirty="0" smtClean="0"/>
              <a:t> </a:t>
            </a:r>
            <a:r>
              <a:rPr lang="de-DE" sz="1800" dirty="0"/>
              <a:t>Aufgaben für Assistenz- und </a:t>
            </a:r>
            <a:r>
              <a:rPr lang="de-DE" sz="1800" dirty="0" smtClean="0"/>
              <a:t>Oberärztinnen und -ärzte umzusetzen</a:t>
            </a:r>
            <a:r>
              <a:rPr lang="de-DE" sz="1800" dirty="0"/>
              <a:t>. </a:t>
            </a:r>
          </a:p>
          <a:p>
            <a:pPr algn="just"/>
            <a:r>
              <a:rPr lang="de-DE" sz="1800" b="1" dirty="0"/>
              <a:t>Vorgehensweise</a:t>
            </a:r>
            <a:r>
              <a:rPr lang="de-DE" sz="1800" dirty="0"/>
              <a:t>: Für eine schlanke Umsetzung nutzen wir das Projekt-Handbuch «Bürokratie-Reduktion» und führen die </a:t>
            </a:r>
            <a:r>
              <a:rPr lang="de-DE" sz="1800" dirty="0" smtClean="0"/>
              <a:t>vier </a:t>
            </a:r>
            <a:r>
              <a:rPr lang="de-DE" sz="1800" dirty="0"/>
              <a:t>Projektschritte mit Hilfe der zur Verfügung stehenden Arbeitsvorlagen durch.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3B64BF-0832-6240-8EF9-B0C30EDFA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leitung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BE89DEA-478C-E043-B095-8E7BF4CD8389}"/>
              </a:ext>
            </a:extLst>
          </p:cNvPr>
          <p:cNvSpPr/>
          <p:nvPr/>
        </p:nvSpPr>
        <p:spPr>
          <a:xfrm>
            <a:off x="8328744" y="7092652"/>
            <a:ext cx="1799630" cy="50405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Logo Spital</a:t>
            </a:r>
          </a:p>
        </p:txBody>
      </p:sp>
    </p:spTree>
    <p:extLst>
      <p:ext uri="{BB962C8B-B14F-4D97-AF65-F5344CB8AC3E}">
        <p14:creationId xmlns:p14="http://schemas.microsoft.com/office/powerpoint/2010/main" val="1477161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ine Ecke des Rechtecks schneiden 17">
            <a:extLst>
              <a:ext uri="{FF2B5EF4-FFF2-40B4-BE49-F238E27FC236}">
                <a16:creationId xmlns:a16="http://schemas.microsoft.com/office/drawing/2014/main" id="{FCEE855E-127A-8D44-9CBF-2B34D93909AF}"/>
              </a:ext>
            </a:extLst>
          </p:cNvPr>
          <p:cNvSpPr/>
          <p:nvPr/>
        </p:nvSpPr>
        <p:spPr>
          <a:xfrm>
            <a:off x="552451" y="1403751"/>
            <a:ext cx="3080990" cy="409403"/>
          </a:xfrm>
          <a:prstGeom prst="snip1Rect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86F93AA-518F-E744-B30E-DDAE0FFD14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251" y="4939526"/>
            <a:ext cx="2371589" cy="688242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82E0EB2-BAF0-F949-8A78-451A95BD42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40426" y="3266186"/>
            <a:ext cx="2546168" cy="2546168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sz="3200" dirty="0"/>
              <a:t>Übersicht Projektablauf</a:t>
            </a:r>
            <a:endParaRPr lang="de-CH" sz="3200" dirty="0">
              <a:latin typeface="Martel Sans" panose="00000500000000000000" pitchFamily="2" charset="0"/>
              <a:cs typeface="Martel Sans" panose="00000500000000000000" pitchFamily="2" charset="0"/>
            </a:endParaRPr>
          </a:p>
        </p:txBody>
      </p:sp>
      <p:grpSp>
        <p:nvGrpSpPr>
          <p:cNvPr id="14" name="Gruppieren 4">
            <a:extLst>
              <a:ext uri="{FF2B5EF4-FFF2-40B4-BE49-F238E27FC236}">
                <a16:creationId xmlns:a16="http://schemas.microsoft.com/office/drawing/2014/main" id="{EA12D013-869A-6E4E-9BF6-1944D7544123}"/>
              </a:ext>
            </a:extLst>
          </p:cNvPr>
          <p:cNvGrpSpPr/>
          <p:nvPr/>
        </p:nvGrpSpPr>
        <p:grpSpPr>
          <a:xfrm>
            <a:off x="1455907" y="3425184"/>
            <a:ext cx="2675235" cy="3595458"/>
            <a:chOff x="1679359" y="1600827"/>
            <a:chExt cx="3716643" cy="4919349"/>
          </a:xfrm>
        </p:grpSpPr>
        <p:sp>
          <p:nvSpPr>
            <p:cNvPr id="15" name="Freihandform 5">
              <a:extLst>
                <a:ext uri="{FF2B5EF4-FFF2-40B4-BE49-F238E27FC236}">
                  <a16:creationId xmlns:a16="http://schemas.microsoft.com/office/drawing/2014/main" id="{551EC68B-5755-6748-B78C-707A61EBBE4A}"/>
                </a:ext>
              </a:extLst>
            </p:cNvPr>
            <p:cNvSpPr/>
            <p:nvPr/>
          </p:nvSpPr>
          <p:spPr>
            <a:xfrm>
              <a:off x="1679359" y="1698187"/>
              <a:ext cx="3716643" cy="4821989"/>
            </a:xfrm>
            <a:custGeom>
              <a:avLst/>
              <a:gdLst>
                <a:gd name="connsiteX0" fmla="*/ 0 w 7772424"/>
                <a:gd name="connsiteY0" fmla="*/ 447371 h 4696943"/>
                <a:gd name="connsiteX1" fmla="*/ 7772400 w 7772424"/>
                <a:gd name="connsiteY1" fmla="*/ 361646 h 4696943"/>
                <a:gd name="connsiteX2" fmla="*/ 95250 w 7772424"/>
                <a:gd name="connsiteY2" fmla="*/ 4400246 h 4696943"/>
                <a:gd name="connsiteX3" fmla="*/ 7543800 w 7772424"/>
                <a:gd name="connsiteY3" fmla="*/ 4390721 h 4696943"/>
                <a:gd name="connsiteX0" fmla="*/ 0 w 7724799"/>
                <a:gd name="connsiteY0" fmla="*/ 64852 h 4188843"/>
                <a:gd name="connsiteX1" fmla="*/ 7724775 w 7724799"/>
                <a:gd name="connsiteY1" fmla="*/ 1674577 h 4188843"/>
                <a:gd name="connsiteX2" fmla="*/ 95250 w 7724799"/>
                <a:gd name="connsiteY2" fmla="*/ 4017727 h 4188843"/>
                <a:gd name="connsiteX3" fmla="*/ 7543800 w 7724799"/>
                <a:gd name="connsiteY3" fmla="*/ 4008202 h 4188843"/>
                <a:gd name="connsiteX0" fmla="*/ 0 w 7724776"/>
                <a:gd name="connsiteY0" fmla="*/ 99337 h 4223328"/>
                <a:gd name="connsiteX1" fmla="*/ 7724775 w 7724776"/>
                <a:gd name="connsiteY1" fmla="*/ 1709062 h 4223328"/>
                <a:gd name="connsiteX2" fmla="*/ 95250 w 7724776"/>
                <a:gd name="connsiteY2" fmla="*/ 4052212 h 4223328"/>
                <a:gd name="connsiteX3" fmla="*/ 7543800 w 7724776"/>
                <a:gd name="connsiteY3" fmla="*/ 4042687 h 4223328"/>
                <a:gd name="connsiteX0" fmla="*/ 0 w 7724776"/>
                <a:gd name="connsiteY0" fmla="*/ 99337 h 4223328"/>
                <a:gd name="connsiteX1" fmla="*/ 7724775 w 7724776"/>
                <a:gd name="connsiteY1" fmla="*/ 1709062 h 4223328"/>
                <a:gd name="connsiteX2" fmla="*/ 95250 w 7724776"/>
                <a:gd name="connsiteY2" fmla="*/ 4052212 h 4223328"/>
                <a:gd name="connsiteX3" fmla="*/ 7543800 w 7724776"/>
                <a:gd name="connsiteY3" fmla="*/ 4042687 h 4223328"/>
                <a:gd name="connsiteX0" fmla="*/ 0 w 7724775"/>
                <a:gd name="connsiteY0" fmla="*/ 64852 h 4188843"/>
                <a:gd name="connsiteX1" fmla="*/ 7724775 w 7724775"/>
                <a:gd name="connsiteY1" fmla="*/ 1674577 h 4188843"/>
                <a:gd name="connsiteX2" fmla="*/ 9525 w 7724775"/>
                <a:gd name="connsiteY2" fmla="*/ 4017727 h 4188843"/>
                <a:gd name="connsiteX3" fmla="*/ 7543800 w 7724775"/>
                <a:gd name="connsiteY3" fmla="*/ 4008202 h 4188843"/>
                <a:gd name="connsiteX0" fmla="*/ 0 w 7724775"/>
                <a:gd name="connsiteY0" fmla="*/ 64852 h 4468231"/>
                <a:gd name="connsiteX1" fmla="*/ 7724775 w 7724775"/>
                <a:gd name="connsiteY1" fmla="*/ 1674577 h 4468231"/>
                <a:gd name="connsiteX2" fmla="*/ 9525 w 7724775"/>
                <a:gd name="connsiteY2" fmla="*/ 4017727 h 4468231"/>
                <a:gd name="connsiteX3" fmla="*/ 7543800 w 7724775"/>
                <a:gd name="connsiteY3" fmla="*/ 4008202 h 4468231"/>
                <a:gd name="connsiteX0" fmla="*/ 9531 w 7734306"/>
                <a:gd name="connsiteY0" fmla="*/ 62979 h 4255931"/>
                <a:gd name="connsiteX1" fmla="*/ 7734306 w 7734306"/>
                <a:gd name="connsiteY1" fmla="*/ 1672704 h 4255931"/>
                <a:gd name="connsiteX2" fmla="*/ 6 w 7734306"/>
                <a:gd name="connsiteY2" fmla="*/ 3711054 h 4255931"/>
                <a:gd name="connsiteX3" fmla="*/ 7553331 w 7734306"/>
                <a:gd name="connsiteY3" fmla="*/ 4006329 h 4255931"/>
                <a:gd name="connsiteX0" fmla="*/ 9592 w 7734367"/>
                <a:gd name="connsiteY0" fmla="*/ 62979 h 4177908"/>
                <a:gd name="connsiteX1" fmla="*/ 7734367 w 7734367"/>
                <a:gd name="connsiteY1" fmla="*/ 1672704 h 4177908"/>
                <a:gd name="connsiteX2" fmla="*/ 67 w 7734367"/>
                <a:gd name="connsiteY2" fmla="*/ 3711054 h 4177908"/>
                <a:gd name="connsiteX3" fmla="*/ 7591492 w 7734367"/>
                <a:gd name="connsiteY3" fmla="*/ 4177779 h 4177908"/>
                <a:gd name="connsiteX0" fmla="*/ 9592 w 7734373"/>
                <a:gd name="connsiteY0" fmla="*/ 75027 h 4189956"/>
                <a:gd name="connsiteX1" fmla="*/ 7734367 w 7734373"/>
                <a:gd name="connsiteY1" fmla="*/ 1684752 h 4189956"/>
                <a:gd name="connsiteX2" fmla="*/ 67 w 7734373"/>
                <a:gd name="connsiteY2" fmla="*/ 3723102 h 4189956"/>
                <a:gd name="connsiteX3" fmla="*/ 7591492 w 7734373"/>
                <a:gd name="connsiteY3" fmla="*/ 4189827 h 4189956"/>
                <a:gd name="connsiteX0" fmla="*/ 9592 w 7734495"/>
                <a:gd name="connsiteY0" fmla="*/ 108929 h 4223858"/>
                <a:gd name="connsiteX1" fmla="*/ 7734367 w 7734495"/>
                <a:gd name="connsiteY1" fmla="*/ 1718654 h 4223858"/>
                <a:gd name="connsiteX2" fmla="*/ 67 w 7734495"/>
                <a:gd name="connsiteY2" fmla="*/ 3757004 h 4223858"/>
                <a:gd name="connsiteX3" fmla="*/ 7591492 w 7734495"/>
                <a:gd name="connsiteY3" fmla="*/ 4223729 h 4223858"/>
                <a:gd name="connsiteX0" fmla="*/ 9528 w 7734431"/>
                <a:gd name="connsiteY0" fmla="*/ 108929 h 4223858"/>
                <a:gd name="connsiteX1" fmla="*/ 7734303 w 7734431"/>
                <a:gd name="connsiteY1" fmla="*/ 1718654 h 4223858"/>
                <a:gd name="connsiteX2" fmla="*/ 3 w 7734431"/>
                <a:gd name="connsiteY2" fmla="*/ 3757004 h 4223858"/>
                <a:gd name="connsiteX3" fmla="*/ 7591428 w 7734431"/>
                <a:gd name="connsiteY3" fmla="*/ 4223729 h 4223858"/>
                <a:gd name="connsiteX0" fmla="*/ 9549 w 7734452"/>
                <a:gd name="connsiteY0" fmla="*/ 108929 h 4528863"/>
                <a:gd name="connsiteX1" fmla="*/ 7734324 w 7734452"/>
                <a:gd name="connsiteY1" fmla="*/ 1718654 h 4528863"/>
                <a:gd name="connsiteX2" fmla="*/ 24 w 7734452"/>
                <a:gd name="connsiteY2" fmla="*/ 3757004 h 4528863"/>
                <a:gd name="connsiteX3" fmla="*/ 7591449 w 7734452"/>
                <a:gd name="connsiteY3" fmla="*/ 4223729 h 4528863"/>
                <a:gd name="connsiteX0" fmla="*/ 19074 w 7743850"/>
                <a:gd name="connsiteY0" fmla="*/ 61422 h 4335517"/>
                <a:gd name="connsiteX1" fmla="*/ 7743849 w 7743850"/>
                <a:gd name="connsiteY1" fmla="*/ 1671147 h 4335517"/>
                <a:gd name="connsiteX2" fmla="*/ 24 w 7743850"/>
                <a:gd name="connsiteY2" fmla="*/ 3442797 h 4335517"/>
                <a:gd name="connsiteX3" fmla="*/ 7600974 w 7743850"/>
                <a:gd name="connsiteY3" fmla="*/ 4176222 h 4335517"/>
                <a:gd name="connsiteX0" fmla="*/ 25 w 7724800"/>
                <a:gd name="connsiteY0" fmla="*/ 59419 h 4203358"/>
                <a:gd name="connsiteX1" fmla="*/ 7724800 w 7724800"/>
                <a:gd name="connsiteY1" fmla="*/ 1669144 h 4203358"/>
                <a:gd name="connsiteX2" fmla="*/ 25 w 7724800"/>
                <a:gd name="connsiteY2" fmla="*/ 3078844 h 4203358"/>
                <a:gd name="connsiteX3" fmla="*/ 7581925 w 7724800"/>
                <a:gd name="connsiteY3" fmla="*/ 4174219 h 4203358"/>
                <a:gd name="connsiteX0" fmla="*/ 0 w 7724775"/>
                <a:gd name="connsiteY0" fmla="*/ 59114 h 4191941"/>
                <a:gd name="connsiteX1" fmla="*/ 7724775 w 7724775"/>
                <a:gd name="connsiteY1" fmla="*/ 1668839 h 4191941"/>
                <a:gd name="connsiteX2" fmla="*/ 9525 w 7724775"/>
                <a:gd name="connsiteY2" fmla="*/ 3021389 h 4191941"/>
                <a:gd name="connsiteX3" fmla="*/ 7581900 w 7724775"/>
                <a:gd name="connsiteY3" fmla="*/ 4173914 h 4191941"/>
                <a:gd name="connsiteX0" fmla="*/ 0 w 7734300"/>
                <a:gd name="connsiteY0" fmla="*/ 90176 h 4204987"/>
                <a:gd name="connsiteX1" fmla="*/ 7734300 w 7734300"/>
                <a:gd name="connsiteY1" fmla="*/ 1080776 h 4204987"/>
                <a:gd name="connsiteX2" fmla="*/ 9525 w 7734300"/>
                <a:gd name="connsiteY2" fmla="*/ 3052451 h 4204987"/>
                <a:gd name="connsiteX3" fmla="*/ 7581900 w 7734300"/>
                <a:gd name="connsiteY3" fmla="*/ 4204976 h 4204987"/>
                <a:gd name="connsiteX0" fmla="*/ 0 w 7734388"/>
                <a:gd name="connsiteY0" fmla="*/ 147104 h 4261915"/>
                <a:gd name="connsiteX1" fmla="*/ 7734300 w 7734388"/>
                <a:gd name="connsiteY1" fmla="*/ 1137704 h 4261915"/>
                <a:gd name="connsiteX2" fmla="*/ 9525 w 7734388"/>
                <a:gd name="connsiteY2" fmla="*/ 3109379 h 4261915"/>
                <a:gd name="connsiteX3" fmla="*/ 7581900 w 7734388"/>
                <a:gd name="connsiteY3" fmla="*/ 4261904 h 4261915"/>
                <a:gd name="connsiteX0" fmla="*/ 0 w 7734387"/>
                <a:gd name="connsiteY0" fmla="*/ 147104 h 4262171"/>
                <a:gd name="connsiteX1" fmla="*/ 7734300 w 7734387"/>
                <a:gd name="connsiteY1" fmla="*/ 1137704 h 4262171"/>
                <a:gd name="connsiteX2" fmla="*/ 9525 w 7734387"/>
                <a:gd name="connsiteY2" fmla="*/ 3109379 h 4262171"/>
                <a:gd name="connsiteX3" fmla="*/ 7581900 w 7734387"/>
                <a:gd name="connsiteY3" fmla="*/ 4261904 h 4262171"/>
                <a:gd name="connsiteX0" fmla="*/ 1574189 w 7743390"/>
                <a:gd name="connsiteY0" fmla="*/ 74750 h 4480535"/>
                <a:gd name="connsiteX1" fmla="*/ 7724780 w 7743390"/>
                <a:gd name="connsiteY1" fmla="*/ 1356068 h 4480535"/>
                <a:gd name="connsiteX2" fmla="*/ 5 w 7743390"/>
                <a:gd name="connsiteY2" fmla="*/ 3327743 h 4480535"/>
                <a:gd name="connsiteX3" fmla="*/ 7572380 w 7743390"/>
                <a:gd name="connsiteY3" fmla="*/ 4480268 h 4480535"/>
                <a:gd name="connsiteX0" fmla="*/ 1671512 w 7746260"/>
                <a:gd name="connsiteY0" fmla="*/ 67062 h 4666659"/>
                <a:gd name="connsiteX1" fmla="*/ 7724780 w 7746260"/>
                <a:gd name="connsiteY1" fmla="*/ 1542192 h 4666659"/>
                <a:gd name="connsiteX2" fmla="*/ 5 w 7746260"/>
                <a:gd name="connsiteY2" fmla="*/ 3513867 h 4666659"/>
                <a:gd name="connsiteX3" fmla="*/ 7572380 w 7746260"/>
                <a:gd name="connsiteY3" fmla="*/ 4666392 h 4666659"/>
                <a:gd name="connsiteX0" fmla="*/ 1671512 w 7743193"/>
                <a:gd name="connsiteY0" fmla="*/ 0 h 4599597"/>
                <a:gd name="connsiteX1" fmla="*/ 7724780 w 7743193"/>
                <a:gd name="connsiteY1" fmla="*/ 1475130 h 4599597"/>
                <a:gd name="connsiteX2" fmla="*/ 5 w 7743193"/>
                <a:gd name="connsiteY2" fmla="*/ 3446805 h 4599597"/>
                <a:gd name="connsiteX3" fmla="*/ 7572380 w 7743193"/>
                <a:gd name="connsiteY3" fmla="*/ 4599330 h 4599597"/>
                <a:gd name="connsiteX0" fmla="*/ 1671512 w 7572380"/>
                <a:gd name="connsiteY0" fmla="*/ 0 h 4599597"/>
                <a:gd name="connsiteX1" fmla="*/ 4920112 w 7572380"/>
                <a:gd name="connsiteY1" fmla="*/ 2444189 h 4599597"/>
                <a:gd name="connsiteX2" fmla="*/ 5 w 7572380"/>
                <a:gd name="connsiteY2" fmla="*/ 3446805 h 4599597"/>
                <a:gd name="connsiteX3" fmla="*/ 7572380 w 7572380"/>
                <a:gd name="connsiteY3" fmla="*/ 4599330 h 4599597"/>
                <a:gd name="connsiteX0" fmla="*/ 609810 w 6510678"/>
                <a:gd name="connsiteY0" fmla="*/ 0 h 5089932"/>
                <a:gd name="connsiteX1" fmla="*/ 3858410 w 6510678"/>
                <a:gd name="connsiteY1" fmla="*/ 2444189 h 5089932"/>
                <a:gd name="connsiteX2" fmla="*/ 6 w 6510678"/>
                <a:gd name="connsiteY2" fmla="*/ 4570913 h 5089932"/>
                <a:gd name="connsiteX3" fmla="*/ 6510678 w 6510678"/>
                <a:gd name="connsiteY3" fmla="*/ 4599330 h 5089932"/>
                <a:gd name="connsiteX0" fmla="*/ 609804 w 3889890"/>
                <a:gd name="connsiteY0" fmla="*/ 0 h 4570913"/>
                <a:gd name="connsiteX1" fmla="*/ 3858404 w 3889890"/>
                <a:gd name="connsiteY1" fmla="*/ 2444189 h 4570913"/>
                <a:gd name="connsiteX2" fmla="*/ 0 w 3889890"/>
                <a:gd name="connsiteY2" fmla="*/ 4570913 h 4570913"/>
                <a:gd name="connsiteX0" fmla="*/ 919468 w 4217604"/>
                <a:gd name="connsiteY0" fmla="*/ 0 h 4541842"/>
                <a:gd name="connsiteX1" fmla="*/ 4168068 w 4217604"/>
                <a:gd name="connsiteY1" fmla="*/ 2444189 h 4541842"/>
                <a:gd name="connsiteX2" fmla="*/ 0 w 4217604"/>
                <a:gd name="connsiteY2" fmla="*/ 4541842 h 4541842"/>
                <a:gd name="connsiteX0" fmla="*/ 919468 w 4217604"/>
                <a:gd name="connsiteY0" fmla="*/ 0 h 4541842"/>
                <a:gd name="connsiteX1" fmla="*/ 4168068 w 4217604"/>
                <a:gd name="connsiteY1" fmla="*/ 2444189 h 4541842"/>
                <a:gd name="connsiteX2" fmla="*/ 0 w 4217604"/>
                <a:gd name="connsiteY2" fmla="*/ 4541842 h 4541842"/>
                <a:gd name="connsiteX0" fmla="*/ 1131809 w 4253896"/>
                <a:gd name="connsiteY0" fmla="*/ 0 h 4251124"/>
                <a:gd name="connsiteX1" fmla="*/ 4168068 w 4253896"/>
                <a:gd name="connsiteY1" fmla="*/ 2153471 h 4251124"/>
                <a:gd name="connsiteX2" fmla="*/ 0 w 4253896"/>
                <a:gd name="connsiteY2" fmla="*/ 4251124 h 4251124"/>
                <a:gd name="connsiteX0" fmla="*/ 1131809 w 4402749"/>
                <a:gd name="connsiteY0" fmla="*/ 0 h 4251124"/>
                <a:gd name="connsiteX1" fmla="*/ 4336171 w 4402749"/>
                <a:gd name="connsiteY1" fmla="*/ 1339462 h 4251124"/>
                <a:gd name="connsiteX2" fmla="*/ 0 w 4402749"/>
                <a:gd name="connsiteY2" fmla="*/ 4251124 h 4251124"/>
                <a:gd name="connsiteX0" fmla="*/ 1131809 w 3699498"/>
                <a:gd name="connsiteY0" fmla="*/ 0 h 4251124"/>
                <a:gd name="connsiteX1" fmla="*/ 3451417 w 3699498"/>
                <a:gd name="connsiteY1" fmla="*/ 1949969 h 4251124"/>
                <a:gd name="connsiteX2" fmla="*/ 0 w 3699498"/>
                <a:gd name="connsiteY2" fmla="*/ 4251124 h 4251124"/>
                <a:gd name="connsiteX0" fmla="*/ 1131809 w 3847117"/>
                <a:gd name="connsiteY0" fmla="*/ 0 h 4251124"/>
                <a:gd name="connsiteX1" fmla="*/ 3451417 w 3847117"/>
                <a:gd name="connsiteY1" fmla="*/ 1949969 h 4251124"/>
                <a:gd name="connsiteX2" fmla="*/ 0 w 3847117"/>
                <a:gd name="connsiteY2" fmla="*/ 4251124 h 4251124"/>
                <a:gd name="connsiteX0" fmla="*/ 956366 w 3671674"/>
                <a:gd name="connsiteY0" fmla="*/ 0 h 4187070"/>
                <a:gd name="connsiteX1" fmla="*/ 3275974 w 3671674"/>
                <a:gd name="connsiteY1" fmla="*/ 1949969 h 4187070"/>
                <a:gd name="connsiteX2" fmla="*/ 0 w 3671674"/>
                <a:gd name="connsiteY2" fmla="*/ 4187070 h 4187070"/>
                <a:gd name="connsiteX0" fmla="*/ 956366 w 3671674"/>
                <a:gd name="connsiteY0" fmla="*/ 0 h 4212318"/>
                <a:gd name="connsiteX1" fmla="*/ 3275974 w 3671674"/>
                <a:gd name="connsiteY1" fmla="*/ 1975217 h 4212318"/>
                <a:gd name="connsiteX2" fmla="*/ 0 w 3671674"/>
                <a:gd name="connsiteY2" fmla="*/ 4212318 h 4212318"/>
                <a:gd name="connsiteX0" fmla="*/ 956366 w 3663885"/>
                <a:gd name="connsiteY0" fmla="*/ 0 h 4212318"/>
                <a:gd name="connsiteX1" fmla="*/ 3275974 w 3663885"/>
                <a:gd name="connsiteY1" fmla="*/ 1975217 h 4212318"/>
                <a:gd name="connsiteX2" fmla="*/ 0 w 3663885"/>
                <a:gd name="connsiteY2" fmla="*/ 4212318 h 4212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63885" h="4212318">
                  <a:moveTo>
                    <a:pt x="956366" y="0"/>
                  </a:moveTo>
                  <a:cubicBezTo>
                    <a:pt x="4335611" y="456285"/>
                    <a:pt x="3800815" y="1547723"/>
                    <a:pt x="3275974" y="1975217"/>
                  </a:cubicBezTo>
                  <a:cubicBezTo>
                    <a:pt x="2751133" y="2402711"/>
                    <a:pt x="404489" y="3053277"/>
                    <a:pt x="0" y="4212318"/>
                  </a:cubicBezTo>
                </a:path>
              </a:pathLst>
            </a:custGeom>
            <a:ln w="190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 lIns="68562" tIns="34280" rIns="68562" bIns="34280" anchor="ctr"/>
            <a:lstStyle/>
            <a:p>
              <a:pPr>
                <a:defRPr/>
              </a:pPr>
              <a:endParaRPr lang="de-CH" sz="90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Verdana" pitchFamily="34" charset="0"/>
                <a:cs typeface="Martel Sans" pitchFamily="2" charset="77"/>
              </a:endParaRPr>
            </a:p>
          </p:txBody>
        </p:sp>
        <p:cxnSp>
          <p:nvCxnSpPr>
            <p:cNvPr id="16" name="Gerade Verbindung 27">
              <a:extLst>
                <a:ext uri="{FF2B5EF4-FFF2-40B4-BE49-F238E27FC236}">
                  <a16:creationId xmlns:a16="http://schemas.microsoft.com/office/drawing/2014/main" id="{92649FEB-3E02-294B-863D-52150A76647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128778" y="2650660"/>
              <a:ext cx="175828" cy="87254"/>
            </a:xfrm>
            <a:prstGeom prst="line">
              <a:avLst/>
            </a:prstGeom>
            <a:ln w="1270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30">
              <a:extLst>
                <a:ext uri="{FF2B5EF4-FFF2-40B4-BE49-F238E27FC236}">
                  <a16:creationId xmlns:a16="http://schemas.microsoft.com/office/drawing/2014/main" id="{1415DB91-1635-3043-ADE6-6E98D186C7B5}"/>
                </a:ext>
              </a:extLst>
            </p:cNvPr>
            <p:cNvCxnSpPr/>
            <p:nvPr userDrawn="1"/>
          </p:nvCxnSpPr>
          <p:spPr>
            <a:xfrm>
              <a:off x="2920327" y="1600827"/>
              <a:ext cx="0" cy="19472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30">
              <a:extLst>
                <a:ext uri="{FF2B5EF4-FFF2-40B4-BE49-F238E27FC236}">
                  <a16:creationId xmlns:a16="http://schemas.microsoft.com/office/drawing/2014/main" id="{E7CA36B2-204E-A640-A5B4-2E20D31A0F71}"/>
                </a:ext>
              </a:extLst>
            </p:cNvPr>
            <p:cNvCxnSpPr>
              <a:cxnSpLocks/>
            </p:cNvCxnSpPr>
            <p:nvPr/>
          </p:nvCxnSpPr>
          <p:spPr>
            <a:xfrm>
              <a:off x="2297254" y="5488306"/>
              <a:ext cx="126942" cy="134814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0">
              <a:extLst>
                <a:ext uri="{FF2B5EF4-FFF2-40B4-BE49-F238E27FC236}">
                  <a16:creationId xmlns:a16="http://schemas.microsoft.com/office/drawing/2014/main" id="{EECFB8F6-0171-BD41-A659-EDBF2F41A4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27934" y="1949120"/>
              <a:ext cx="186099" cy="172470"/>
            </a:xfrm>
            <a:prstGeom prst="line">
              <a:avLst/>
            </a:prstGeom>
            <a:ln w="12700" cmpd="sng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B3F682A-7CD3-8246-8630-3C18C49E476E}"/>
              </a:ext>
            </a:extLst>
          </p:cNvPr>
          <p:cNvGrpSpPr/>
          <p:nvPr/>
        </p:nvGrpSpPr>
        <p:grpSpPr>
          <a:xfrm>
            <a:off x="2349154" y="6114854"/>
            <a:ext cx="5259510" cy="1484593"/>
            <a:chOff x="2064048" y="6358338"/>
            <a:chExt cx="6120681" cy="1484593"/>
          </a:xfrm>
        </p:grpSpPr>
        <p:sp>
          <p:nvSpPr>
            <p:cNvPr id="30" name="Eine Ecke des Rechtecks schneiden 29">
              <a:extLst>
                <a:ext uri="{FF2B5EF4-FFF2-40B4-BE49-F238E27FC236}">
                  <a16:creationId xmlns:a16="http://schemas.microsoft.com/office/drawing/2014/main" id="{94262152-A7CF-BD44-8486-BD37C277953A}"/>
                </a:ext>
              </a:extLst>
            </p:cNvPr>
            <p:cNvSpPr/>
            <p:nvPr/>
          </p:nvSpPr>
          <p:spPr>
            <a:xfrm>
              <a:off x="2064048" y="6358338"/>
              <a:ext cx="6120680" cy="380040"/>
            </a:xfrm>
            <a:prstGeom prst="snip1Rect">
              <a:avLst/>
            </a:prstGeom>
            <a:solidFill>
              <a:srgbClr val="0641A2"/>
            </a:solidFill>
            <a:ln>
              <a:solidFill>
                <a:srgbClr val="0641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  <p:sp>
          <p:nvSpPr>
            <p:cNvPr id="20" name="Rectangle 22">
              <a:extLst>
                <a:ext uri="{FF2B5EF4-FFF2-40B4-BE49-F238E27FC236}">
                  <a16:creationId xmlns:a16="http://schemas.microsoft.com/office/drawing/2014/main" id="{37E71967-6ECB-064B-9656-1DC623E97F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4049" y="6419464"/>
              <a:ext cx="6120680" cy="1423467"/>
            </a:xfrm>
            <a:prstGeom prst="rect">
              <a:avLst/>
            </a:prstGeom>
            <a:noFill/>
            <a:ln w="15875">
              <a:solidFill>
                <a:srgbClr val="0641A2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rIns="72000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de-CH" sz="2000" dirty="0">
                  <a:solidFill>
                    <a:schemeClr val="bg1"/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4. Abschluss</a:t>
              </a:r>
            </a:p>
            <a:p>
              <a:pPr algn="just"/>
              <a:r>
                <a:rPr lang="de-CH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Schlanke Befragung zur Bewertung der umgesetzten Massnahmen und </a:t>
              </a:r>
              <a:r>
                <a:rPr lang="de-CH" sz="1600" dirty="0" smtClean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zur Suche nach weiteren </a:t>
              </a:r>
              <a:r>
                <a:rPr lang="de-CH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Verbesserungsmöglichkeiten. Präsentation der Ergebnisse und Definition weiteres Vorgehen.</a:t>
              </a:r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8FB1B07-B026-B04F-BFAF-37E6A65346B2}"/>
              </a:ext>
            </a:extLst>
          </p:cNvPr>
          <p:cNvGrpSpPr/>
          <p:nvPr/>
        </p:nvGrpSpPr>
        <p:grpSpPr>
          <a:xfrm>
            <a:off x="3990484" y="1739900"/>
            <a:ext cx="4974741" cy="2010050"/>
            <a:chOff x="4002075" y="1770234"/>
            <a:chExt cx="5118757" cy="2010050"/>
          </a:xfrm>
        </p:grpSpPr>
        <p:sp>
          <p:nvSpPr>
            <p:cNvPr id="26" name="Eine Ecke des Rechtecks schneiden 25">
              <a:extLst>
                <a:ext uri="{FF2B5EF4-FFF2-40B4-BE49-F238E27FC236}">
                  <a16:creationId xmlns:a16="http://schemas.microsoft.com/office/drawing/2014/main" id="{E0EA9DE0-FA8A-9D4B-8749-E59C222BA1A4}"/>
                </a:ext>
              </a:extLst>
            </p:cNvPr>
            <p:cNvSpPr/>
            <p:nvPr/>
          </p:nvSpPr>
          <p:spPr>
            <a:xfrm>
              <a:off x="4002075" y="1770234"/>
              <a:ext cx="5118757" cy="409403"/>
            </a:xfrm>
            <a:prstGeom prst="snip1Rect">
              <a:avLst/>
            </a:prstGeom>
            <a:solidFill>
              <a:srgbClr val="D72156"/>
            </a:solidFill>
            <a:ln w="15875">
              <a:solidFill>
                <a:srgbClr val="D721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Rectangle 26">
              <a:extLst>
                <a:ext uri="{FF2B5EF4-FFF2-40B4-BE49-F238E27FC236}">
                  <a16:creationId xmlns:a16="http://schemas.microsoft.com/office/drawing/2014/main" id="{70433F08-F0BE-2844-902C-4AF6102D86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075" y="1864375"/>
              <a:ext cx="5118757" cy="1915909"/>
            </a:xfrm>
            <a:prstGeom prst="rect">
              <a:avLst/>
            </a:prstGeom>
            <a:noFill/>
            <a:ln w="19050">
              <a:solidFill>
                <a:srgbClr val="D72156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rIns="72000">
              <a:spAutoFit/>
            </a:bodyPr>
            <a:lstStyle/>
            <a:p>
              <a:pPr marL="4763" algn="just">
                <a:spcAft>
                  <a:spcPts val="300"/>
                </a:spcAft>
              </a:pPr>
              <a:r>
                <a:rPr lang="de-CH" sz="20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2. Ausgangslage</a:t>
              </a:r>
            </a:p>
            <a:p>
              <a:pPr marL="0" lvl="1" algn="just"/>
              <a:r>
                <a:rPr lang="de-CH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Erhebung der aktuellen Situation bei der Ärzteschaft der Klinik mit Hilfe eines Fragebogens. Auswertung der identifizierten administrativen Aufgaben und Priorisierung anhand von Zeitaufwand und Häufigkeit. Analyse und Präsentation der Ergebnisse. 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B708BE2-CF5E-2F49-8A7B-197A2CA43824}"/>
              </a:ext>
            </a:extLst>
          </p:cNvPr>
          <p:cNvGrpSpPr/>
          <p:nvPr/>
        </p:nvGrpSpPr>
        <p:grpSpPr>
          <a:xfrm>
            <a:off x="4293781" y="3942824"/>
            <a:ext cx="5928810" cy="2009177"/>
            <a:chOff x="4305372" y="3973158"/>
            <a:chExt cx="5928810" cy="2009177"/>
          </a:xfrm>
        </p:grpSpPr>
        <p:sp>
          <p:nvSpPr>
            <p:cNvPr id="29" name="Eine Ecke des Rechtecks schneiden 28">
              <a:extLst>
                <a:ext uri="{FF2B5EF4-FFF2-40B4-BE49-F238E27FC236}">
                  <a16:creationId xmlns:a16="http://schemas.microsoft.com/office/drawing/2014/main" id="{08C3D999-8A1C-C64E-9B79-835A280C5864}"/>
                </a:ext>
              </a:extLst>
            </p:cNvPr>
            <p:cNvSpPr/>
            <p:nvPr/>
          </p:nvSpPr>
          <p:spPr>
            <a:xfrm>
              <a:off x="4305372" y="3973158"/>
              <a:ext cx="5928810" cy="409403"/>
            </a:xfrm>
            <a:prstGeom prst="snip1Rect">
              <a:avLst/>
            </a:prstGeom>
            <a:solidFill>
              <a:srgbClr val="439ED1"/>
            </a:solidFill>
            <a:ln w="15875">
              <a:solidFill>
                <a:srgbClr val="439ED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tangle 24">
              <a:extLst>
                <a:ext uri="{FF2B5EF4-FFF2-40B4-BE49-F238E27FC236}">
                  <a16:creationId xmlns:a16="http://schemas.microsoft.com/office/drawing/2014/main" id="{6EA42715-70C6-4E44-9B09-6CDAE0AE94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5372" y="4066426"/>
              <a:ext cx="5928810" cy="1915909"/>
            </a:xfrm>
            <a:prstGeom prst="rect">
              <a:avLst/>
            </a:prstGeom>
            <a:noFill/>
            <a:ln w="15875">
              <a:solidFill>
                <a:srgbClr val="439ED1"/>
              </a:solidFill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rIns="72000">
              <a:spAutoFit/>
            </a:bodyPr>
            <a:lstStyle/>
            <a:p>
              <a:pPr marL="223838" indent="-201613" algn="just">
                <a:spcAft>
                  <a:spcPts val="300"/>
                </a:spcAft>
              </a:pPr>
              <a:r>
                <a:rPr lang="de-CH" sz="20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3. Verbesserungen</a:t>
              </a:r>
            </a:p>
            <a:p>
              <a:pPr algn="just"/>
              <a:r>
                <a:rPr lang="de-CH" sz="1600" dirty="0">
                  <a:solidFill>
                    <a:schemeClr val="tx1">
                      <a:lumMod val="50000"/>
                    </a:schemeClr>
                  </a:solidFill>
                  <a:latin typeface="Martel Sans" pitchFamily="2" charset="77"/>
                  <a:ea typeface="Segoe UI" panose="020B0502040204020203" pitchFamily="34" charset="0"/>
                  <a:cs typeface="Martel Sans" pitchFamily="2" charset="77"/>
                </a:rPr>
                <a:t>Entwicklung von Lösungsansätzen und Ausarbeitung von Projektsteckbriefen für Reduktionsmassnahmen als Entscheidungsgrundlage für die Klinik-/Spitalleitung. Nach Freigabe werden die Verbesserungsprojekte in der Klinik in Zusammenarbeit mit betroffenen Fachbereichen (Ärzteschaft, Pflege, Sekretariat etc.) umgesetzt. </a:t>
              </a:r>
            </a:p>
          </p:txBody>
        </p:sp>
      </p:grpSp>
      <p:sp>
        <p:nvSpPr>
          <p:cNvPr id="31" name="Rectangle 26">
            <a:extLst>
              <a:ext uri="{FF2B5EF4-FFF2-40B4-BE49-F238E27FC236}">
                <a16:creationId xmlns:a16="http://schemas.microsoft.com/office/drawing/2014/main" id="{5326DBB6-C7D0-6342-981C-ABC341665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50" y="1499362"/>
            <a:ext cx="3080991" cy="1669688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rIns="72000">
            <a:spAutoFit/>
          </a:bodyPr>
          <a:lstStyle/>
          <a:p>
            <a:pPr marL="4763" algn="just">
              <a:spcAft>
                <a:spcPts val="300"/>
              </a:spcAft>
            </a:pPr>
            <a:r>
              <a:rPr lang="de-CH" sz="2000" dirty="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1. Projektstart</a:t>
            </a:r>
          </a:p>
          <a:p>
            <a:pPr marL="0" lvl="1" algn="just"/>
            <a:r>
              <a:rPr lang="de-CH" sz="1600" dirty="0">
                <a:solidFill>
                  <a:schemeClr val="tx1">
                    <a:lumMod val="50000"/>
                  </a:schemeClr>
                </a:solidFill>
                <a:latin typeface="Martel Sans" pitchFamily="2" charset="77"/>
                <a:ea typeface="Segoe UI" panose="020B0502040204020203" pitchFamily="34" charset="0"/>
                <a:cs typeface="Martel Sans" pitchFamily="2" charset="77"/>
              </a:rPr>
              <a:t>Projektfreigabe durch Klinik- oder Spitalleitung, Festlegung der  Projektorganisation, Ressourcen und weiteren Rahmenbedingungen. </a:t>
            </a:r>
          </a:p>
        </p:txBody>
      </p:sp>
    </p:spTree>
    <p:extLst>
      <p:ext uri="{BB962C8B-B14F-4D97-AF65-F5344CB8AC3E}">
        <p14:creationId xmlns:p14="http://schemas.microsoft.com/office/powerpoint/2010/main" val="3023722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elle 51">
            <a:extLst>
              <a:ext uri="{FF2B5EF4-FFF2-40B4-BE49-F238E27FC236}">
                <a16:creationId xmlns:a16="http://schemas.microsoft.com/office/drawing/2014/main" id="{5DFBA2F3-6D7F-8D47-BA25-D79823FF3AD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089377"/>
              </p:ext>
            </p:extLst>
          </p:nvPr>
        </p:nvGraphicFramePr>
        <p:xfrm>
          <a:off x="1415976" y="2264109"/>
          <a:ext cx="8743113" cy="4327043"/>
        </p:xfrm>
        <a:graphic>
          <a:graphicData uri="http://schemas.openxmlformats.org/drawingml/2006/table">
            <a:tbl>
              <a:tblPr firstRow="1" bandRow="1">
                <a:solidFill>
                  <a:srgbClr val="FFFF00"/>
                </a:solidFill>
              </a:tblPr>
              <a:tblGrid>
                <a:gridCol w="971457">
                  <a:extLst>
                    <a:ext uri="{9D8B030D-6E8A-4147-A177-3AD203B41FA5}">
                      <a16:colId xmlns:a16="http://schemas.microsoft.com/office/drawing/2014/main" val="390924557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86821397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773969832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3429769859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08466446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591180748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340827013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732576434"/>
                    </a:ext>
                  </a:extLst>
                </a:gridCol>
                <a:gridCol w="971457">
                  <a:extLst>
                    <a:ext uri="{9D8B030D-6E8A-4147-A177-3AD203B41FA5}">
                      <a16:colId xmlns:a16="http://schemas.microsoft.com/office/drawing/2014/main" val="2017630815"/>
                    </a:ext>
                  </a:extLst>
                </a:gridCol>
              </a:tblGrid>
              <a:tr h="321173"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Jan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Feb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Mär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Apr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Mai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Jun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Jul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Aug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300" b="0" i="0" dirty="0">
                          <a:solidFill>
                            <a:schemeClr val="tx1"/>
                          </a:solidFill>
                          <a:latin typeface="Helvetica Neue Light" panose="02000403000000020004" pitchFamily="2" charset="0"/>
                          <a:ea typeface="Helvetica Neue Light" panose="02000403000000020004" pitchFamily="2" charset="0"/>
                          <a:cs typeface="Arial"/>
                        </a:rPr>
                        <a:t>Sep.</a:t>
                      </a:r>
                    </a:p>
                  </a:txBody>
                  <a:tcPr marL="104649" marR="104649" marT="0" marB="5232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58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CH" sz="1600" b="0" i="0" kern="1200" dirty="0">
                        <a:solidFill>
                          <a:schemeClr val="dk1"/>
                        </a:solidFill>
                        <a:latin typeface="Helvetica Neue Light" panose="02000403000000020004" pitchFamily="2" charset="0"/>
                        <a:ea typeface="Helvetica Neue Light" panose="02000403000000020004" pitchFamily="2" charset="0"/>
                        <a:cs typeface="Arial"/>
                      </a:endParaRPr>
                    </a:p>
                  </a:txBody>
                  <a:tcPr marL="104649" marR="104649" marT="52324" marB="5232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5179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Richtungspfeil 52">
            <a:extLst>
              <a:ext uri="{FF2B5EF4-FFF2-40B4-BE49-F238E27FC236}">
                <a16:creationId xmlns:a16="http://schemas.microsoft.com/office/drawing/2014/main" id="{5E9B8B72-E3AA-A44F-B330-A585407BE2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5708" y="4498753"/>
            <a:ext cx="1038260" cy="959311"/>
          </a:xfrm>
          <a:prstGeom prst="homePlate">
            <a:avLst>
              <a:gd name="adj" fmla="val 0"/>
            </a:avLst>
          </a:prstGeom>
          <a:solidFill>
            <a:srgbClr val="439ED1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/>
            <a:r>
              <a:rPr lang="de-CH" sz="1373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Verbes-</a:t>
            </a:r>
            <a:r>
              <a:rPr lang="de-CH" sz="1373" dirty="0" err="1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serungen</a:t>
            </a:r>
            <a:endParaRPr lang="de-CH" sz="1373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Richtungspfeil 63">
            <a:extLst>
              <a:ext uri="{FF2B5EF4-FFF2-40B4-BE49-F238E27FC236}">
                <a16:creationId xmlns:a16="http://schemas.microsoft.com/office/drawing/2014/main" id="{FF7C3F83-10EA-3949-90B9-CDF50140F4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5710" y="3390218"/>
            <a:ext cx="1038260" cy="1030656"/>
          </a:xfrm>
          <a:prstGeom prst="homePlate">
            <a:avLst>
              <a:gd name="adj" fmla="val 0"/>
            </a:avLst>
          </a:prstGeom>
          <a:solidFill>
            <a:srgbClr val="E34975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373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Ausgangs-lage</a:t>
            </a:r>
          </a:p>
        </p:txBody>
      </p:sp>
      <p:sp>
        <p:nvSpPr>
          <p:cNvPr id="9" name="Richtungspfeil 64">
            <a:extLst>
              <a:ext uri="{FF2B5EF4-FFF2-40B4-BE49-F238E27FC236}">
                <a16:creationId xmlns:a16="http://schemas.microsoft.com/office/drawing/2014/main" id="{BE65F235-9C04-C14E-AE5F-C36EE79781B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04205" y="6211140"/>
            <a:ext cx="1038260" cy="399214"/>
          </a:xfrm>
          <a:prstGeom prst="homePlate">
            <a:avLst>
              <a:gd name="adj" fmla="val 0"/>
            </a:avLst>
          </a:prstGeom>
          <a:solidFill>
            <a:srgbClr val="437232">
              <a:lumMod val="40000"/>
              <a:lumOff val="60000"/>
              <a:alpha val="75000"/>
            </a:srgb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373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Anwendung</a:t>
            </a:r>
          </a:p>
        </p:txBody>
      </p:sp>
      <p:sp>
        <p:nvSpPr>
          <p:cNvPr id="10" name="Richtungspfeil 66">
            <a:extLst>
              <a:ext uri="{FF2B5EF4-FFF2-40B4-BE49-F238E27FC236}">
                <a16:creationId xmlns:a16="http://schemas.microsoft.com/office/drawing/2014/main" id="{065CC3A4-B77C-6B42-92BE-9D3E8D86A2E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05710" y="2594414"/>
            <a:ext cx="1038260" cy="717924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0" rtlCol="0" anchor="ctr" anchorCtr="0"/>
          <a:lstStyle/>
          <a:p>
            <a:pPr defTabSz="1046439"/>
            <a:r>
              <a:rPr lang="de-CH" sz="1373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Projektstart</a:t>
            </a:r>
          </a:p>
        </p:txBody>
      </p:sp>
      <p:sp>
        <p:nvSpPr>
          <p:cNvPr id="11" name="Richtungspfeil 118">
            <a:extLst>
              <a:ext uri="{FF2B5EF4-FFF2-40B4-BE49-F238E27FC236}">
                <a16:creationId xmlns:a16="http://schemas.microsoft.com/office/drawing/2014/main" id="{6064D16E-7950-5F4B-988E-36B84CA96F0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04205" y="5535943"/>
            <a:ext cx="1038260" cy="597315"/>
          </a:xfrm>
          <a:prstGeom prst="homePlate">
            <a:avLst>
              <a:gd name="adj" fmla="val 0"/>
            </a:avLst>
          </a:prstGeom>
          <a:solidFill>
            <a:srgbClr val="074CBD"/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53560" rtlCol="0" anchor="ctr" anchorCtr="0"/>
          <a:lstStyle/>
          <a:p>
            <a:pPr defTabSz="872033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CH" sz="1373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Abschluss</a:t>
            </a:r>
          </a:p>
        </p:txBody>
      </p:sp>
      <p:sp>
        <p:nvSpPr>
          <p:cNvPr id="12" name="Richtungspfeil 81">
            <a:extLst>
              <a:ext uri="{FF2B5EF4-FFF2-40B4-BE49-F238E27FC236}">
                <a16:creationId xmlns:a16="http://schemas.microsoft.com/office/drawing/2014/main" id="{66CA09A3-BF5A-C447-9458-C184D6A85C6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867225" y="3511639"/>
            <a:ext cx="1717103" cy="792839"/>
          </a:xfrm>
          <a:prstGeom prst="homePlate">
            <a:avLst>
              <a:gd name="adj" fmla="val 14352"/>
            </a:avLst>
          </a:prstGeom>
          <a:solidFill>
            <a:srgbClr val="E34975">
              <a:alpha val="74902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Erhebung Ausgangslage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Befragung Ärzteschaft 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Erstellung Auswertung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Situationsanalyse</a:t>
            </a: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610CD893-BAC0-AA43-9AAA-37EF48B734F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H="1" flipV="1">
            <a:off x="240149" y="6165058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3" name="Straight Connector 59">
            <a:extLst>
              <a:ext uri="{FF2B5EF4-FFF2-40B4-BE49-F238E27FC236}">
                <a16:creationId xmlns:a16="http://schemas.microsoft.com/office/drawing/2014/main" id="{33E400C6-F457-BC45-8917-BF82ED20267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 flipV="1">
            <a:off x="232132" y="5492066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5" name="Straight Connector 59">
            <a:extLst>
              <a:ext uri="{FF2B5EF4-FFF2-40B4-BE49-F238E27FC236}">
                <a16:creationId xmlns:a16="http://schemas.microsoft.com/office/drawing/2014/main" id="{A0D4E1D7-3B41-484B-B692-D8D46CFDBE9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 flipH="1" flipV="1">
            <a:off x="240149" y="4447391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cxnSp>
        <p:nvCxnSpPr>
          <p:cNvPr id="26" name="Straight Connector 59">
            <a:extLst>
              <a:ext uri="{FF2B5EF4-FFF2-40B4-BE49-F238E27FC236}">
                <a16:creationId xmlns:a16="http://schemas.microsoft.com/office/drawing/2014/main" id="{C50F7958-328C-2740-A9E1-7B1234FAC2D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 flipH="1" flipV="1">
            <a:off x="166560" y="3345520"/>
            <a:ext cx="9992529" cy="16610"/>
          </a:xfrm>
          <a:prstGeom prst="line">
            <a:avLst/>
          </a:prstGeom>
          <a:solidFill>
            <a:srgbClr val="FFFFFF"/>
          </a:solidFill>
          <a:ln w="9525" cmpd="sng">
            <a:solidFill>
              <a:srgbClr val="FFFFFF"/>
            </a:solidFill>
            <a:prstDash val="dash"/>
            <a:miter lim="800000"/>
            <a:headEnd/>
            <a:tailEnd/>
          </a:ln>
          <a:effectLst/>
        </p:spPr>
      </p:cxnSp>
      <p:sp>
        <p:nvSpPr>
          <p:cNvPr id="22" name="Richtungspfeil 81">
            <a:extLst>
              <a:ext uri="{FF2B5EF4-FFF2-40B4-BE49-F238E27FC236}">
                <a16:creationId xmlns:a16="http://schemas.microsoft.com/office/drawing/2014/main" id="{778E9679-F736-6143-A471-D6D9C077ADE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464563" y="2681833"/>
            <a:ext cx="1483353" cy="243055"/>
          </a:xfrm>
          <a:prstGeom prst="homePlate">
            <a:avLst>
              <a:gd name="adj" fmla="val 18731"/>
            </a:avLst>
          </a:prstGeom>
          <a:solidFill>
            <a:schemeClr val="bg1">
              <a:lumMod val="85000"/>
              <a:alpha val="75000"/>
            </a:schemeClr>
          </a:solidFill>
          <a:ln w="3175" cmpd="sng">
            <a:noFill/>
            <a:miter lim="800000"/>
            <a:headEnd/>
            <a:tailEnd/>
          </a:ln>
          <a:effectLst/>
        </p:spPr>
        <p:txBody>
          <a:bodyPr vert="horz" lIns="54000" tIns="20600" rIns="36000" bIns="0" rtlCol="0" anchor="ctr" anchorCtr="0"/>
          <a:lstStyle/>
          <a:p>
            <a:pPr defTabSz="1046439"/>
            <a:r>
              <a:rPr lang="de-CH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Projektvorbereitungen</a:t>
            </a:r>
          </a:p>
        </p:txBody>
      </p:sp>
      <p:sp>
        <p:nvSpPr>
          <p:cNvPr id="42" name="Richtungspfeil 81">
            <a:extLst>
              <a:ext uri="{FF2B5EF4-FFF2-40B4-BE49-F238E27FC236}">
                <a16:creationId xmlns:a16="http://schemas.microsoft.com/office/drawing/2014/main" id="{6A41D5CB-4E70-6846-8F9C-2228EDFDFAAA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489197" y="4820145"/>
            <a:ext cx="2809670" cy="395848"/>
          </a:xfrm>
          <a:prstGeom prst="homePlate">
            <a:avLst>
              <a:gd name="adj" fmla="val 17109"/>
            </a:avLst>
          </a:prstGeom>
          <a:solidFill>
            <a:srgbClr val="439ED1">
              <a:alpha val="75000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ct val="40000"/>
              </a:spcAft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Verbesserungsmassnahmen auswählen, </a:t>
            </a:r>
            <a:b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</a:b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usarbeiten und testen</a:t>
            </a:r>
          </a:p>
        </p:txBody>
      </p:sp>
      <p:sp>
        <p:nvSpPr>
          <p:cNvPr id="29" name="Diamond 121">
            <a:extLst>
              <a:ext uri="{FF2B5EF4-FFF2-40B4-BE49-F238E27FC236}">
                <a16:creationId xmlns:a16="http://schemas.microsoft.com/office/drawing/2014/main" id="{377D0ABD-49B2-214E-8986-47A7B32D51DD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474124" y="2975553"/>
            <a:ext cx="247200" cy="247200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256160">
              <a:lnSpc>
                <a:spcPct val="95000"/>
              </a:lnSpc>
            </a:pPr>
            <a:endParaRPr lang="de-CH" sz="1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Projekt-Freigabe</a:t>
            </a:r>
            <a:endParaRPr lang="de-CH" sz="100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Klinik-/Spitalleitung</a:t>
            </a:r>
            <a:endParaRPr lang="de-CH" sz="100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32" name="Diamond 121">
            <a:extLst>
              <a:ext uri="{FF2B5EF4-FFF2-40B4-BE49-F238E27FC236}">
                <a16:creationId xmlns:a16="http://schemas.microsoft.com/office/drawing/2014/main" id="{5E929BEA-93EF-7B4A-AEC6-4BD1961C084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345001" y="4485883"/>
            <a:ext cx="247200" cy="247200"/>
          </a:xfrm>
          <a:prstGeom prst="diamond">
            <a:avLst/>
          </a:prstGeom>
          <a:solidFill>
            <a:srgbClr val="439ED1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Workshop </a:t>
            </a:r>
            <a:r>
              <a:rPr lang="de-CH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/>
            </a:r>
            <a:br>
              <a:rPr lang="de-CH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</a:br>
            <a:r>
              <a:rPr lang="de-CH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Ideation </a:t>
            </a:r>
            <a:r>
              <a:rPr lang="de-CH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Session</a:t>
            </a:r>
          </a:p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1122BBD-6B6C-0A4A-9AC4-322A330023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oadmap</a:t>
            </a:r>
          </a:p>
        </p:txBody>
      </p:sp>
      <p:sp>
        <p:nvSpPr>
          <p:cNvPr id="34" name="Diamond 121">
            <a:extLst>
              <a:ext uri="{FF2B5EF4-FFF2-40B4-BE49-F238E27FC236}">
                <a16:creationId xmlns:a16="http://schemas.microsoft.com/office/drawing/2014/main" id="{DB0BB251-4788-494B-BE50-697B549CCFA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743625" y="2975553"/>
            <a:ext cx="247200" cy="247200"/>
          </a:xfrm>
          <a:prstGeom prst="diamond">
            <a:avLst/>
          </a:prstGeom>
          <a:solidFill>
            <a:schemeClr val="bg1">
              <a:lumMod val="85000"/>
            </a:scheme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256160">
              <a:lnSpc>
                <a:spcPct val="95000"/>
              </a:lnSpc>
            </a:pPr>
            <a:endParaRPr lang="de-CH" sz="1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0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 Kommunikation</a:t>
            </a:r>
            <a:endParaRPr lang="de-CH" sz="100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35" name="Diamond 121">
            <a:extLst>
              <a:ext uri="{FF2B5EF4-FFF2-40B4-BE49-F238E27FC236}">
                <a16:creationId xmlns:a16="http://schemas.microsoft.com/office/drawing/2014/main" id="{CA135851-6F98-7840-A7D8-4EBEC2EB504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845973" y="4434405"/>
            <a:ext cx="247200" cy="247200"/>
          </a:xfrm>
          <a:prstGeom prst="diamond">
            <a:avLst/>
          </a:prstGeom>
          <a:solidFill>
            <a:srgbClr val="439ED1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Freigabe Klinik-/Spitalleitung</a:t>
            </a: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(</a:t>
            </a:r>
            <a:r>
              <a:rPr lang="de-CH" sz="105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bei Bedarf)</a:t>
            </a:r>
          </a:p>
        </p:txBody>
      </p:sp>
      <p:sp>
        <p:nvSpPr>
          <p:cNvPr id="38" name="Richtungspfeil 81">
            <a:extLst>
              <a:ext uri="{FF2B5EF4-FFF2-40B4-BE49-F238E27FC236}">
                <a16:creationId xmlns:a16="http://schemas.microsoft.com/office/drawing/2014/main" id="{146BD305-4D32-8844-AA4A-6652A8FEF23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270162" y="5556897"/>
            <a:ext cx="1285055" cy="600792"/>
          </a:xfrm>
          <a:prstGeom prst="homePlate">
            <a:avLst>
              <a:gd name="adj" fmla="val 14352"/>
            </a:avLst>
          </a:prstGeom>
          <a:solidFill>
            <a:srgbClr val="074CBD">
              <a:alpha val="74902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ts val="0"/>
              </a:spcAft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bschluss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Erfolgsmessung</a:t>
            </a:r>
          </a:p>
          <a:p>
            <a:pPr marL="171450" indent="-171450" defTabSz="104643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Auswertung</a:t>
            </a:r>
          </a:p>
        </p:txBody>
      </p:sp>
      <p:sp>
        <p:nvSpPr>
          <p:cNvPr id="39" name="Richtungspfeil 81">
            <a:extLst>
              <a:ext uri="{FF2B5EF4-FFF2-40B4-BE49-F238E27FC236}">
                <a16:creationId xmlns:a16="http://schemas.microsoft.com/office/drawing/2014/main" id="{08669A4B-7EFB-A244-ABE8-F6C78CE0A706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7267297" y="6223155"/>
            <a:ext cx="2809670" cy="395848"/>
          </a:xfrm>
          <a:prstGeom prst="homePlate">
            <a:avLst>
              <a:gd name="adj" fmla="val 17109"/>
            </a:avLst>
          </a:prstGeom>
          <a:solidFill>
            <a:srgbClr val="C8F6B9">
              <a:alpha val="75000"/>
            </a:srgbClr>
          </a:solidFill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contourW="12700">
            <a:bevelT w="38100" h="38100"/>
            <a:contourClr>
              <a:srgbClr val="97A7CF">
                <a:lumMod val="40000"/>
                <a:lumOff val="60000"/>
              </a:srgbClr>
            </a:contourClr>
          </a:sp3d>
        </p:spPr>
        <p:txBody>
          <a:bodyPr wrap="square" lIns="41200" tIns="41200" rIns="41200" bIns="41200" anchor="ctr" anchorCtr="0">
            <a:noAutofit/>
          </a:bodyPr>
          <a:lstStyle/>
          <a:p>
            <a:pPr defTabSz="1046439" fontAlgn="auto">
              <a:spcBef>
                <a:spcPts val="0"/>
              </a:spcBef>
              <a:spcAft>
                <a:spcPct val="40000"/>
              </a:spcAft>
            </a:pPr>
            <a:r>
              <a:rPr lang="de-CH" sz="1050" kern="0" dirty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  <a:sym typeface="Wingdings" pitchFamily="2" charset="2"/>
              </a:rPr>
              <a:t>Definitive Umsetzung und Anwendung Verbesserungsmassnahmen</a:t>
            </a:r>
          </a:p>
        </p:txBody>
      </p:sp>
      <p:sp>
        <p:nvSpPr>
          <p:cNvPr id="40" name="Diamond 121">
            <a:extLst>
              <a:ext uri="{FF2B5EF4-FFF2-40B4-BE49-F238E27FC236}">
                <a16:creationId xmlns:a16="http://schemas.microsoft.com/office/drawing/2014/main" id="{0DFC5BB5-57D3-674A-A81F-60BEF05A37A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646297" y="5733693"/>
            <a:ext cx="247200" cy="247200"/>
          </a:xfrm>
          <a:prstGeom prst="diamond">
            <a:avLst/>
          </a:prstGeom>
          <a:solidFill>
            <a:srgbClr val="0641A2">
              <a:alpha val="76000"/>
            </a:srgbClr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 anchorCtr="0"/>
          <a:lstStyle/>
          <a:p>
            <a:pPr marL="152606">
              <a:lnSpc>
                <a:spcPct val="95000"/>
              </a:lnSpc>
            </a:pP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marL="152606">
              <a:lnSpc>
                <a:spcPct val="95000"/>
              </a:lnSpc>
            </a:pPr>
            <a:r>
              <a:rPr lang="de-CH" sz="1050" dirty="0" smtClean="0">
                <a:solidFill>
                  <a:srgbClr val="000000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Projektabschluss</a:t>
            </a:r>
            <a:endParaRPr lang="de-CH" sz="1050" dirty="0">
              <a:solidFill>
                <a:srgbClr val="000000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128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sz="3200" dirty="0">
                <a:latin typeface="Martel Sans" panose="00000500000000000000" pitchFamily="2" charset="0"/>
                <a:cs typeface="Martel Sans" panose="00000500000000000000" pitchFamily="2" charset="0"/>
              </a:rPr>
              <a:t>Projektorganisatio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09423" y="1991147"/>
            <a:ext cx="7599052" cy="1896368"/>
          </a:xfrm>
        </p:spPr>
        <p:txBody>
          <a:bodyPr/>
          <a:lstStyle/>
          <a:p>
            <a:pPr marL="12715" lvl="0" indent="0">
              <a:lnSpc>
                <a:spcPct val="113000"/>
              </a:lnSpc>
              <a:spcBef>
                <a:spcPts val="458"/>
              </a:spcBef>
              <a:spcAft>
                <a:spcPts val="320"/>
              </a:spcAft>
              <a:buNone/>
            </a:pP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Durch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eine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klare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Projektorganisation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werden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Rollen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und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stufengerechte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Entscheidungskompetenzen</a:t>
            </a:r>
            <a:r>
              <a:rPr lang="fr-FR" sz="2000" dirty="0">
                <a:latin typeface="Martel Sans" panose="00000500000000000000" pitchFamily="2" charset="0"/>
                <a:cs typeface="Martel Sans" panose="00000500000000000000" pitchFamily="2" charset="0"/>
              </a:rPr>
              <a:t> </a:t>
            </a:r>
            <a:r>
              <a:rPr lang="fr-FR" sz="2000" dirty="0" err="1">
                <a:latin typeface="Martel Sans" panose="00000500000000000000" pitchFamily="2" charset="0"/>
                <a:cs typeface="Martel Sans" panose="00000500000000000000" pitchFamily="2" charset="0"/>
              </a:rPr>
              <a:t>verteilt</a:t>
            </a:r>
            <a:r>
              <a:rPr lang="fr-FR" sz="2000" dirty="0" smtClean="0">
                <a:latin typeface="Martel Sans" panose="00000500000000000000" pitchFamily="2" charset="0"/>
                <a:cs typeface="Martel Sans" panose="00000500000000000000" pitchFamily="2" charset="0"/>
              </a:rPr>
              <a:t>. </a:t>
            </a:r>
            <a:endParaRPr lang="fr-FR" sz="2000" dirty="0">
              <a:latin typeface="Martel Sans" panose="00000500000000000000" pitchFamily="2" charset="0"/>
              <a:cs typeface="Martel Sans" panose="00000500000000000000" pitchFamily="2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7036" y="3618180"/>
            <a:ext cx="2221266" cy="2221266"/>
          </a:xfrm>
          <a:prstGeom prst="rect">
            <a:avLst/>
          </a:prstGeom>
        </p:spPr>
      </p:pic>
      <p:sp>
        <p:nvSpPr>
          <p:cNvPr id="8" name="Rechteck 23">
            <a:extLst>
              <a:ext uri="{FF2B5EF4-FFF2-40B4-BE49-F238E27FC236}">
                <a16:creationId xmlns:a16="http://schemas.microsoft.com/office/drawing/2014/main" id="{0554BCA3-1956-D140-9067-88D05D97C1DB}"/>
              </a:ext>
            </a:extLst>
          </p:cNvPr>
          <p:cNvSpPr/>
          <p:nvPr/>
        </p:nvSpPr>
        <p:spPr>
          <a:xfrm>
            <a:off x="552450" y="3461199"/>
            <a:ext cx="3521802" cy="847077"/>
          </a:xfrm>
          <a:prstGeom prst="rect">
            <a:avLst/>
          </a:prstGeom>
          <a:solidFill>
            <a:srgbClr val="CD0920">
              <a:lumMod val="40000"/>
              <a:lumOff val="6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46800" rIns="0" bIns="46800" numCol="1" rtlCol="0" anchor="t" anchorCtr="0"/>
          <a:lstStyle/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r>
              <a:rPr lang="de-CH" sz="1200" kern="0" dirty="0" smtClean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Klinik-/Spitalleitung</a:t>
            </a:r>
            <a:endParaRPr lang="de-CH" sz="1200" kern="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r>
              <a: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, </a:t>
            </a:r>
            <a:endParaRPr lang="de-CH" sz="1200" kern="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90488" defTabSz="762000" eaLnBrk="0" fontAlgn="auto" hangingPunct="0">
              <a:spcBef>
                <a:spcPts val="0"/>
              </a:spcBef>
              <a:spcAft>
                <a:spcPts val="300"/>
              </a:spcAft>
            </a:pPr>
            <a:endParaRPr lang="de-DE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sp>
        <p:nvSpPr>
          <p:cNvPr id="13" name="Rechteck 72">
            <a:extLst>
              <a:ext uri="{FF2B5EF4-FFF2-40B4-BE49-F238E27FC236}">
                <a16:creationId xmlns:a16="http://schemas.microsoft.com/office/drawing/2014/main" id="{8582960F-C673-8A4B-B639-EBA2835F3075}"/>
              </a:ext>
            </a:extLst>
          </p:cNvPr>
          <p:cNvSpPr/>
          <p:nvPr/>
        </p:nvSpPr>
        <p:spPr>
          <a:xfrm>
            <a:off x="545824" y="5878144"/>
            <a:ext cx="2192349" cy="1184252"/>
          </a:xfrm>
          <a:prstGeom prst="rect">
            <a:avLst/>
          </a:prstGeom>
          <a:solidFill>
            <a:srgbClr val="437232">
              <a:lumMod val="40000"/>
              <a:lumOff val="60000"/>
            </a:srgbClr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36000" rIns="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12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rbeitsgruppe a) xx</a:t>
            </a: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xx, A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1200" kern="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Yy</a:t>
            </a: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, Sekretariat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</p:txBody>
      </p:sp>
      <p:sp>
        <p:nvSpPr>
          <p:cNvPr id="14" name="Rechteck 72">
            <a:extLst>
              <a:ext uri="{FF2B5EF4-FFF2-40B4-BE49-F238E27FC236}">
                <a16:creationId xmlns:a16="http://schemas.microsoft.com/office/drawing/2014/main" id="{6D1AC67F-908D-F846-B43A-C6DB0683684E}"/>
              </a:ext>
            </a:extLst>
          </p:cNvPr>
          <p:cNvSpPr/>
          <p:nvPr/>
        </p:nvSpPr>
        <p:spPr>
          <a:xfrm>
            <a:off x="544764" y="4501084"/>
            <a:ext cx="3519436" cy="1184252"/>
          </a:xfrm>
          <a:prstGeom prst="rect">
            <a:avLst/>
          </a:prstGeom>
          <a:solidFill>
            <a:srgbClr val="BFBFBF"/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18000" rIns="0" bIns="46800" rtlCol="0" anchor="b" anchorCtr="0"/>
          <a:lstStyle/>
          <a:p>
            <a:pPr>
              <a:spcAft>
                <a:spcPts val="100"/>
              </a:spcAft>
            </a:pPr>
            <a:r>
              <a:rPr lang="de-CH" sz="1200" dirty="0" smtClean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rojektteam</a:t>
            </a:r>
            <a:endParaRPr lang="de-CH" sz="120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de-DE" sz="1200" kern="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yy</a:t>
            </a: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, Ärzteschaft</a:t>
            </a: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de-CH" sz="1200" kern="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Xx</a:t>
            </a: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, </a:t>
            </a:r>
            <a:r>
              <a:rPr lang="de-CH" sz="1200" kern="0" dirty="0" smtClean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  <a:cs typeface="Segoe UI" panose="020B0502040204020203" pitchFamily="34" charset="0"/>
              </a:rPr>
              <a:t>Ärzteschaft      (+ev. andere Fachbereiche)</a:t>
            </a:r>
            <a:endParaRPr lang="de-CH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sp>
        <p:nvSpPr>
          <p:cNvPr id="16" name="Rechteck 72">
            <a:extLst>
              <a:ext uri="{FF2B5EF4-FFF2-40B4-BE49-F238E27FC236}">
                <a16:creationId xmlns:a16="http://schemas.microsoft.com/office/drawing/2014/main" id="{7B254585-BA68-4846-930A-490D45FEDD65}"/>
              </a:ext>
            </a:extLst>
          </p:cNvPr>
          <p:cNvSpPr/>
          <p:nvPr/>
        </p:nvSpPr>
        <p:spPr>
          <a:xfrm>
            <a:off x="647632" y="4574654"/>
            <a:ext cx="3282329" cy="430831"/>
          </a:xfrm>
          <a:prstGeom prst="rect">
            <a:avLst/>
          </a:prstGeom>
          <a:solidFill>
            <a:srgbClr val="1F497D">
              <a:lumMod val="40000"/>
              <a:lumOff val="6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36000" rIns="0" bIns="0" rtlCol="0" anchor="t" anchorCtr="0"/>
          <a:lstStyle/>
          <a:p>
            <a:pPr marL="90488" marR="0" lvl="0" indent="0" defTabSz="7620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rojektleitung</a:t>
            </a:r>
            <a:endParaRPr lang="de-CH" sz="140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, </a:t>
            </a:r>
            <a:r>
              <a: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OA</a:t>
            </a:r>
            <a:endParaRPr lang="de-DE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62F2317-74F7-6743-AF76-F7169666022F}"/>
              </a:ext>
            </a:extLst>
          </p:cNvPr>
          <p:cNvGrpSpPr/>
          <p:nvPr/>
        </p:nvGrpSpPr>
        <p:grpSpPr>
          <a:xfrm>
            <a:off x="5589543" y="3030945"/>
            <a:ext cx="4543151" cy="4228245"/>
            <a:chOff x="5847722" y="776166"/>
            <a:chExt cx="2629474" cy="3167326"/>
          </a:xfrm>
        </p:grpSpPr>
        <p:sp>
          <p:nvSpPr>
            <p:cNvPr id="24" name="Abgerundetes Rechteck 23">
              <a:extLst>
                <a:ext uri="{FF2B5EF4-FFF2-40B4-BE49-F238E27FC236}">
                  <a16:creationId xmlns:a16="http://schemas.microsoft.com/office/drawing/2014/main" id="{64D33498-36CB-1843-8E38-73808E5C12AF}"/>
                </a:ext>
              </a:extLst>
            </p:cNvPr>
            <p:cNvSpPr/>
            <p:nvPr/>
          </p:nvSpPr>
          <p:spPr bwMode="auto">
            <a:xfrm>
              <a:off x="5851746" y="776166"/>
              <a:ext cx="2610793" cy="561321"/>
            </a:xfrm>
            <a:prstGeom prst="roundRect">
              <a:avLst>
                <a:gd name="adj" fmla="val 7883"/>
              </a:avLst>
            </a:prstGeom>
            <a:solidFill>
              <a:srgbClr val="CD0920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0" rtlCol="0" anchor="t" anchorCtr="0"/>
            <a:lstStyle/>
            <a:p>
              <a:pPr defTabSz="685800"/>
              <a:r>
                <a:rPr lang="de-CH" sz="14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Klinik-/Spitalleitung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/>
              </a:r>
              <a:b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</a:b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Trifft strategische 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Entscheidungen über </a:t>
              </a: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Ziele, 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Ressourcen und Vorgaben. Im Verlauf des Projekts fällt </a:t>
              </a: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sie 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Umsetzungsentscheidungen und verantwortet die Budgetkontrolle.</a:t>
              </a:r>
            </a:p>
          </p:txBody>
        </p:sp>
        <p:sp>
          <p:nvSpPr>
            <p:cNvPr id="25" name="Abgerundetes Rechteck 27">
              <a:extLst>
                <a:ext uri="{FF2B5EF4-FFF2-40B4-BE49-F238E27FC236}">
                  <a16:creationId xmlns:a16="http://schemas.microsoft.com/office/drawing/2014/main" id="{7D2BD1F6-C665-354B-BC8A-DD21BE65611B}"/>
                </a:ext>
              </a:extLst>
            </p:cNvPr>
            <p:cNvSpPr/>
            <p:nvPr/>
          </p:nvSpPr>
          <p:spPr bwMode="auto">
            <a:xfrm>
              <a:off x="5847722" y="1385096"/>
              <a:ext cx="2618840" cy="634536"/>
            </a:xfrm>
            <a:prstGeom prst="roundRect">
              <a:avLst>
                <a:gd name="adj" fmla="val 7883"/>
              </a:avLst>
            </a:prstGeom>
            <a:solidFill>
              <a:srgbClr val="1F497D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5715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CH" sz="14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Projektleitung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/>
              </a:r>
              <a:b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</a:b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Leitet die Projektkerngruppe, koordiniert die 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Aufgabenvergabe, </a:t>
              </a: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überwacht die </a:t>
              </a:r>
              <a:r>
                <a:rPr lang="de-CH" sz="1200" kern="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bereichsübergreifende </a:t>
              </a:r>
              <a:r>
                <a:rPr lang="de-CH" sz="1200" kern="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Abstimmung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 und Kontrolle der Ausführung </a:t>
              </a: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und überprüft die </a:t>
              </a:r>
              <a:r>
                <a:rPr lang="de-CH" sz="12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strategischen Vorgaben.</a:t>
              </a:r>
            </a:p>
            <a:p>
              <a:pPr defTabSz="5715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26" name="Abgerundetes Rechteck 27">
              <a:extLst>
                <a:ext uri="{FF2B5EF4-FFF2-40B4-BE49-F238E27FC236}">
                  <a16:creationId xmlns:a16="http://schemas.microsoft.com/office/drawing/2014/main" id="{B95C69F3-579E-9B44-B1D6-B72CBB3CCF0C}"/>
                </a:ext>
              </a:extLst>
            </p:cNvPr>
            <p:cNvSpPr/>
            <p:nvPr/>
          </p:nvSpPr>
          <p:spPr bwMode="auto">
            <a:xfrm>
              <a:off x="5852720" y="3422463"/>
              <a:ext cx="2624476" cy="521029"/>
            </a:xfrm>
            <a:prstGeom prst="roundRect">
              <a:avLst>
                <a:gd name="adj" fmla="val 7883"/>
              </a:avLst>
            </a:prstGeom>
            <a:solidFill>
              <a:srgbClr val="437232">
                <a:lumMod val="40000"/>
                <a:lumOff val="60000"/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CH" sz="140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Arbeitsgruppen</a:t>
              </a:r>
              <a:endParaRPr lang="de-CH" sz="1200" kern="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endParaRPr>
            </a:p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CH" sz="1200" kern="0" dirty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Die Arbeitsgruppen sind für die Umsetzung einzelner Massnahmen zuständig und bestehen bei Bedarf aus funktionsübergreifenden Mitgliedern</a:t>
              </a:r>
            </a:p>
          </p:txBody>
        </p:sp>
        <p:sp>
          <p:nvSpPr>
            <p:cNvPr id="28" name="Abgerundetes Rechteck 27">
              <a:extLst>
                <a:ext uri="{FF2B5EF4-FFF2-40B4-BE49-F238E27FC236}">
                  <a16:creationId xmlns:a16="http://schemas.microsoft.com/office/drawing/2014/main" id="{335CD0DA-54C9-4148-8EB5-2857FC00989F}"/>
                </a:ext>
              </a:extLst>
            </p:cNvPr>
            <p:cNvSpPr/>
            <p:nvPr/>
          </p:nvSpPr>
          <p:spPr bwMode="auto">
            <a:xfrm>
              <a:off x="5847722" y="2735108"/>
              <a:ext cx="2618840" cy="641688"/>
            </a:xfrm>
            <a:prstGeom prst="roundRect">
              <a:avLst>
                <a:gd name="adj" fmla="val 7883"/>
              </a:avLst>
            </a:prstGeom>
            <a:solidFill>
              <a:srgbClr val="BFBFBF">
                <a:alpha val="75000"/>
              </a:srgbClr>
            </a:solidFill>
            <a:ln w="6350" cmpd="sng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vert="horz" lIns="54000" tIns="13500" rIns="0" bIns="35100" rtlCol="0" anchor="t" anchorCtr="0"/>
            <a:lstStyle/>
            <a:p>
              <a:pPr defTabSz="685800"/>
              <a:r>
                <a:rPr lang="de-CH" sz="14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Projektteam</a:t>
              </a:r>
              <a:endPara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endParaRPr>
            </a:p>
            <a:p>
              <a:pPr defTabSz="685800"/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Setzt die einzelnen Projektschritte um (Erhebung aktuelle Situation,  Identifizierung und Priorisierung der </a:t>
              </a:r>
              <a:r>
                <a:rPr lang="de-CH" sz="1200" dirty="0" err="1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admin</a:t>
              </a:r>
              <a:r>
                <a:rPr lang="de-CH" sz="1200" dirty="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. Aufgaben, Entwicklung von Lösungsansätzen etc.). Gegebenenfalls sind andere Fachbereiche bereits </a:t>
              </a:r>
              <a:r>
                <a:rPr lang="de-CH" sz="1200" smtClean="0">
                  <a:solidFill>
                    <a:srgbClr val="000000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  <a:cs typeface="Segoe UI" panose="020B0502040204020203" pitchFamily="34" charset="0"/>
                </a:rPr>
                <a:t>hier einzubeziehen.</a:t>
              </a:r>
              <a:endPara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endParaRPr>
            </a:p>
          </p:txBody>
        </p:sp>
      </p:grpSp>
      <p:sp>
        <p:nvSpPr>
          <p:cNvPr id="29" name="Rechteck 72">
            <a:extLst>
              <a:ext uri="{FF2B5EF4-FFF2-40B4-BE49-F238E27FC236}">
                <a16:creationId xmlns:a16="http://schemas.microsoft.com/office/drawing/2014/main" id="{62A4F9C2-5077-A649-8DCF-6B978E936388}"/>
              </a:ext>
            </a:extLst>
          </p:cNvPr>
          <p:cNvSpPr/>
          <p:nvPr/>
        </p:nvSpPr>
        <p:spPr>
          <a:xfrm>
            <a:off x="2805320" y="5878144"/>
            <a:ext cx="2192349" cy="1184252"/>
          </a:xfrm>
          <a:prstGeom prst="rect">
            <a:avLst/>
          </a:prstGeom>
          <a:solidFill>
            <a:srgbClr val="437232">
              <a:lumMod val="40000"/>
              <a:lumOff val="60000"/>
            </a:srgbClr>
          </a:solidFill>
          <a:ln w="3175" cmpd="sng">
            <a:solidFill>
              <a:srgbClr val="1E1C11"/>
            </a:solidFill>
            <a:miter lim="800000"/>
            <a:headEnd/>
            <a:tailEnd/>
          </a:ln>
          <a:effectLst/>
        </p:spPr>
        <p:txBody>
          <a:bodyPr vert="horz" lIns="72000" tIns="36000" rIns="0" bIns="468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12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rbeitsgruppe b) xx</a:t>
            </a: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xx, A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1200" kern="0" dirty="0" err="1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Yy</a:t>
            </a:r>
            <a:r>
              <a:rPr lang="de-CH" sz="1200" kern="0" dirty="0">
                <a:solidFill>
                  <a:srgbClr val="000000"/>
                </a:solidFill>
                <a:latin typeface="Helvetica Neue Thin"/>
                <a:ea typeface="Helvetica Neue Light" panose="02000403000000020004" pitchFamily="2" charset="0"/>
              </a:rPr>
              <a:t>, Pflege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de-CH" sz="1200" kern="0" dirty="0">
              <a:solidFill>
                <a:srgbClr val="000000"/>
              </a:solidFill>
              <a:latin typeface="Helvetica Neue Thin"/>
              <a:ea typeface="Helvetica Neue Light" panose="02000403000000020004" pitchFamily="2" charset="0"/>
            </a:endParaRPr>
          </a:p>
        </p:txBody>
      </p:sp>
      <p:sp>
        <p:nvSpPr>
          <p:cNvPr id="17" name="Abgerundetes Rechteck 27">
            <a:extLst>
              <a:ext uri="{FF2B5EF4-FFF2-40B4-BE49-F238E27FC236}">
                <a16:creationId xmlns:a16="http://schemas.microsoft.com/office/drawing/2014/main" id="{7D2BD1F6-C665-354B-BC8A-DD21BE65611B}"/>
              </a:ext>
            </a:extLst>
          </p:cNvPr>
          <p:cNvSpPr/>
          <p:nvPr/>
        </p:nvSpPr>
        <p:spPr bwMode="auto">
          <a:xfrm>
            <a:off x="5596496" y="4754475"/>
            <a:ext cx="4531878" cy="828018"/>
          </a:xfrm>
          <a:prstGeom prst="roundRect">
            <a:avLst>
              <a:gd name="adj" fmla="val 7883"/>
            </a:avLst>
          </a:prstGeom>
          <a:solidFill>
            <a:srgbClr val="FDE4B9">
              <a:alpha val="75000"/>
            </a:srgbClr>
          </a:solidFill>
          <a:ln w="6350" cmpd="sng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lIns="54000" tIns="13500" rIns="0" bIns="35100" rtlCol="0" anchor="t" anchorCtr="0"/>
          <a:lstStyle/>
          <a:p>
            <a:pPr defTabSz="5715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dirty="0" smtClean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Externe Begleitung (fakultativ)</a:t>
            </a:r>
            <a:r>
              <a: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/>
            </a:r>
            <a:br>
              <a:rPr lang="de-CH" sz="1200" dirty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</a:br>
            <a:r>
              <a:rPr lang="de-CH" sz="1200" dirty="0" smtClean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Eine externe Begleitung kann Projektleitung und Projektteam erheblich entlasten und unterstützen (Vorbereiten u. Moderieren von Meetings, Durchführung u. Auswertung von Umfragen, Zusammenstellen von Präsentationen, Führen einer Pendenzenliste etc.).</a:t>
            </a:r>
            <a:endParaRPr lang="de-CH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  <a:p>
            <a:pPr defTabSz="5715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CH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  <p:sp>
        <p:nvSpPr>
          <p:cNvPr id="18" name="Rechteck 72">
            <a:extLst>
              <a:ext uri="{FF2B5EF4-FFF2-40B4-BE49-F238E27FC236}">
                <a16:creationId xmlns:a16="http://schemas.microsoft.com/office/drawing/2014/main" id="{7B254585-BA68-4846-930A-490D45FEDD65}"/>
              </a:ext>
            </a:extLst>
          </p:cNvPr>
          <p:cNvSpPr/>
          <p:nvPr/>
        </p:nvSpPr>
        <p:spPr>
          <a:xfrm>
            <a:off x="1967239" y="4746057"/>
            <a:ext cx="2199829" cy="430831"/>
          </a:xfrm>
          <a:prstGeom prst="rect">
            <a:avLst/>
          </a:prstGeom>
          <a:solidFill>
            <a:srgbClr val="FDE4B9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wrap="square" lIns="0" tIns="36000" rIns="0" bIns="0" rtlCol="0" anchor="t" anchorCtr="0"/>
          <a:lstStyle/>
          <a:p>
            <a:pPr marL="90488" marR="0" lvl="0" indent="0" defTabSz="7620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 smtClean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Externe Begleitung</a:t>
            </a:r>
            <a:endParaRPr lang="de-CH" sz="140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93663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Segoe UI" panose="020B0502040204020203" pitchFamily="34" charset="0"/>
              </a:rPr>
              <a:t>xx</a:t>
            </a:r>
            <a:endParaRPr lang="de-DE" sz="1200" dirty="0">
              <a:solidFill>
                <a:srgbClr val="000000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390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EFwqZCXkmDmKhzcj25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lSrl2lv0WEeZ.rEXCd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BjcepgE0OqRp0KZDED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pv52Fq_UGzsIwZ2tUn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LPV_NiSUmQ.YbeBnoZ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sk7cpeEkeklj6rCwga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RtFH5SEKA2klXysp.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hJor8Nz0KPROBA9pEr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K9eJ6ukm26cKhCGlVAQ"/>
</p:tagLst>
</file>

<file path=ppt/theme/theme1.xml><?xml version="1.0" encoding="utf-8"?>
<a:theme xmlns:a="http://schemas.openxmlformats.org/drawingml/2006/main" name="PowerPoint-Vorlage simpel">
  <a:themeElements>
    <a:clrScheme name="Profil 9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D"/>
      </a:accent5>
      <a:accent6>
        <a:srgbClr val="B90000"/>
      </a:accent6>
      <a:hlink>
        <a:srgbClr val="336699"/>
      </a:hlink>
      <a:folHlink>
        <a:srgbClr val="003366"/>
      </a:folHlink>
    </a:clrScheme>
    <a:fontScheme name="Profi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fil 1">
        <a:dk1>
          <a:srgbClr val="A50021"/>
        </a:dk1>
        <a:lt1>
          <a:srgbClr val="FFFFFF"/>
        </a:lt1>
        <a:dk2>
          <a:srgbClr val="800000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C0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FFFFCC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2">
        <a:dk1>
          <a:srgbClr val="3C001E"/>
        </a:dk1>
        <a:lt1>
          <a:srgbClr val="FFFFFF"/>
        </a:lt1>
        <a:dk2>
          <a:srgbClr val="51072E"/>
        </a:dk2>
        <a:lt2>
          <a:srgbClr val="FFFFFF"/>
        </a:lt2>
        <a:accent1>
          <a:srgbClr val="89A38F"/>
        </a:accent1>
        <a:accent2>
          <a:srgbClr val="666699"/>
        </a:accent2>
        <a:accent3>
          <a:srgbClr val="B3AAAD"/>
        </a:accent3>
        <a:accent4>
          <a:srgbClr val="DADADA"/>
        </a:accent4>
        <a:accent5>
          <a:srgbClr val="C4CEC6"/>
        </a:accent5>
        <a:accent6>
          <a:srgbClr val="5C5C8A"/>
        </a:accent6>
        <a:hlink>
          <a:srgbClr val="80800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3">
        <a:dk1>
          <a:srgbClr val="333333"/>
        </a:dk1>
        <a:lt1>
          <a:srgbClr val="FFFFFF"/>
        </a:lt1>
        <a:dk2>
          <a:srgbClr val="000000"/>
        </a:dk2>
        <a:lt2>
          <a:srgbClr val="FFFFFF"/>
        </a:lt2>
        <a:accent1>
          <a:srgbClr val="3399FF"/>
        </a:accent1>
        <a:accent2>
          <a:srgbClr val="CC0000"/>
        </a:accent2>
        <a:accent3>
          <a:srgbClr val="AAAAAA"/>
        </a:accent3>
        <a:accent4>
          <a:srgbClr val="DADADA"/>
        </a:accent4>
        <a:accent5>
          <a:srgbClr val="ADCAFF"/>
        </a:accent5>
        <a:accent6>
          <a:srgbClr val="B90000"/>
        </a:accent6>
        <a:hlink>
          <a:srgbClr val="666699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4">
        <a:dk1>
          <a:srgbClr val="4B3D1B"/>
        </a:dk1>
        <a:lt1>
          <a:srgbClr val="FFFFFF"/>
        </a:lt1>
        <a:dk2>
          <a:srgbClr val="330000"/>
        </a:dk2>
        <a:lt2>
          <a:srgbClr val="FFFFFF"/>
        </a:lt2>
        <a:accent1>
          <a:srgbClr val="CC9900"/>
        </a:accent1>
        <a:accent2>
          <a:srgbClr val="CC6600"/>
        </a:accent2>
        <a:accent3>
          <a:srgbClr val="ADAA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666699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5">
        <a:dk1>
          <a:srgbClr val="006666"/>
        </a:dk1>
        <a:lt1>
          <a:srgbClr val="FFFFFF"/>
        </a:lt1>
        <a:dk2>
          <a:srgbClr val="003366"/>
        </a:dk2>
        <a:lt2>
          <a:srgbClr val="FFFFFF"/>
        </a:lt2>
        <a:accent1>
          <a:srgbClr val="0099CC"/>
        </a:accent1>
        <a:accent2>
          <a:srgbClr val="6666FF"/>
        </a:accent2>
        <a:accent3>
          <a:srgbClr val="AAADB8"/>
        </a:accent3>
        <a:accent4>
          <a:srgbClr val="DADADA"/>
        </a:accent4>
        <a:accent5>
          <a:srgbClr val="AACAE2"/>
        </a:accent5>
        <a:accent6>
          <a:srgbClr val="5C5C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6">
        <a:dk1>
          <a:srgbClr val="003366"/>
        </a:dk1>
        <a:lt1>
          <a:srgbClr val="FFFFFF"/>
        </a:lt1>
        <a:dk2>
          <a:srgbClr val="006666"/>
        </a:dk2>
        <a:lt2>
          <a:srgbClr val="FFFFFF"/>
        </a:lt2>
        <a:accent1>
          <a:srgbClr val="6699FF"/>
        </a:accent1>
        <a:accent2>
          <a:srgbClr val="00CCFF"/>
        </a:accent2>
        <a:accent3>
          <a:srgbClr val="AAB8B8"/>
        </a:accent3>
        <a:accent4>
          <a:srgbClr val="DADADA"/>
        </a:accent4>
        <a:accent5>
          <a:srgbClr val="B8CAFF"/>
        </a:accent5>
        <a:accent6>
          <a:srgbClr val="00B9E7"/>
        </a:accent6>
        <a:hlink>
          <a:srgbClr val="FFFFCC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7">
        <a:dk1>
          <a:srgbClr val="000000"/>
        </a:dk1>
        <a:lt1>
          <a:srgbClr val="619CB1"/>
        </a:lt1>
        <a:dk2>
          <a:srgbClr val="FFFFFF"/>
        </a:dk2>
        <a:lt2>
          <a:srgbClr val="4E899E"/>
        </a:lt2>
        <a:accent1>
          <a:srgbClr val="FFCC00"/>
        </a:accent1>
        <a:accent2>
          <a:srgbClr val="B6523E"/>
        </a:accent2>
        <a:accent3>
          <a:srgbClr val="B7CBD5"/>
        </a:accent3>
        <a:accent4>
          <a:srgbClr val="000000"/>
        </a:accent4>
        <a:accent5>
          <a:srgbClr val="FFE2AA"/>
        </a:accent5>
        <a:accent6>
          <a:srgbClr val="A54937"/>
        </a:accent6>
        <a:hlink>
          <a:srgbClr val="99CC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fil 8">
        <a:dk1>
          <a:srgbClr val="598600"/>
        </a:dk1>
        <a:lt1>
          <a:srgbClr val="FFFFFF"/>
        </a:lt1>
        <a:dk2>
          <a:srgbClr val="336600"/>
        </a:dk2>
        <a:lt2>
          <a:srgbClr val="FFFFFF"/>
        </a:lt2>
        <a:accent1>
          <a:srgbClr val="33CC33"/>
        </a:accent1>
        <a:accent2>
          <a:srgbClr val="99CC00"/>
        </a:accent2>
        <a:accent3>
          <a:srgbClr val="ADB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FFCC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A3B2C1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CED5DD"/>
        </a:accent5>
        <a:accent6>
          <a:srgbClr val="B90000"/>
        </a:accent6>
        <a:hlink>
          <a:srgbClr val="33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A8526981893FC4CA0C8E7062F47235A" ma:contentTypeVersion="13" ma:contentTypeDescription="Ein neues Dokument erstellen." ma:contentTypeScope="" ma:versionID="56bae4a1590c738411affd2177b54fbd">
  <xsd:schema xmlns:xsd="http://www.w3.org/2001/XMLSchema" xmlns:xs="http://www.w3.org/2001/XMLSchema" xmlns:p="http://schemas.microsoft.com/office/2006/metadata/properties" xmlns:ns2="7c5fcfb2-5db4-46f9-81ab-10aec9957980" xmlns:ns3="479ca1a7-049c-4076-aec2-820fd03ab299" targetNamespace="http://schemas.microsoft.com/office/2006/metadata/properties" ma:root="true" ma:fieldsID="fff4cf14336b9f926a48ea7aa3baf9ae" ns2:_="" ns3:_="">
    <xsd:import namespace="7c5fcfb2-5db4-46f9-81ab-10aec9957980"/>
    <xsd:import namespace="479ca1a7-049c-4076-aec2-820fd03ab2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5fcfb2-5db4-46f9-81ab-10aec99579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9ca1a7-049c-4076-aec2-820fd03ab29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F9C3DC-111C-4236-8D48-04B91E0B6604}">
  <ds:schemaRefs>
    <ds:schemaRef ds:uri="7c5fcfb2-5db4-46f9-81ab-10aec9957980"/>
    <ds:schemaRef ds:uri="http://purl.org/dc/terms/"/>
    <ds:schemaRef ds:uri="479ca1a7-049c-4076-aec2-820fd03ab299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F4DE602-ACDA-442F-8F93-1301C4D824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5fcfb2-5db4-46f9-81ab-10aec9957980"/>
    <ds:schemaRef ds:uri="479ca1a7-049c-4076-aec2-820fd03ab2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D52ECF0-23FD-447F-8A53-0BFBD9EC189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Vorlage simpel</Template>
  <TotalTime>0</TotalTime>
  <Words>583</Words>
  <Application>Microsoft Office PowerPoint</Application>
  <PresentationFormat>Benutzerdefiniert</PresentationFormat>
  <Paragraphs>85</Paragraphs>
  <Slides>5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Helvetica Neue</vt:lpstr>
      <vt:lpstr>Helvetica Neue Light</vt:lpstr>
      <vt:lpstr>Helvetica Neue Thin</vt:lpstr>
      <vt:lpstr>Martel Sans</vt:lpstr>
      <vt:lpstr>Segoe UI</vt:lpstr>
      <vt:lpstr>Verdana</vt:lpstr>
      <vt:lpstr>Wingdings</vt:lpstr>
      <vt:lpstr>PowerPoint-Vorlage simpel</vt:lpstr>
      <vt:lpstr>Medizin statt Bürokratie!  Konzept für Klinikprojekt «Bürokratie-Reduktion» in der Name deiner Klinik </vt:lpstr>
      <vt:lpstr>Einleitung </vt:lpstr>
      <vt:lpstr>Übersicht Projektablauf</vt:lpstr>
      <vt:lpstr>Roadmap</vt:lpstr>
      <vt:lpstr>Projektorganisation</vt:lpstr>
    </vt:vector>
  </TitlesOfParts>
  <Company>in4U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1100_vhn</dc:creator>
  <cp:lastModifiedBy>Reusser Oliviero</cp:lastModifiedBy>
  <cp:revision>329</cp:revision>
  <cp:lastPrinted>2020-06-16T14:34:13Z</cp:lastPrinted>
  <dcterms:created xsi:type="dcterms:W3CDTF">2013-04-23T06:14:12Z</dcterms:created>
  <dcterms:modified xsi:type="dcterms:W3CDTF">2023-05-05T10:2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8526981893FC4CA0C8E7062F47235A</vt:lpwstr>
  </property>
</Properties>
</file>